
<file path=[Content_Types].xml><?xml version="1.0" encoding="utf-8"?>
<Types xmlns="http://schemas.openxmlformats.org/package/2006/content-types">
  <Default Extension="gif" ContentType="image/gif"/>
  <Default Extension="jpeg" ContentType="image/jpeg"/>
  <Default Extension="png" ContentType="image/png"/>
  <Default Extension="rels" ContentType="application/vnd.openxmlformats-package.relationships+xml"/>
  <Default Extension="xlsx" ContentType="application/vnd.openxmlformats-officedocument.spreadsheetml.sheet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slides/slide2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notesSlides/notesSlide3.xml" ContentType="application/vnd.openxmlformats-officedocument.presentationml.notesSlide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notesSlides/notesSlide9.xml" ContentType="application/vnd.openxmlformats-officedocument.presentationml.notesSlide+xml"/>
  <Override PartName="/ppt/charts/chart3.xml" ContentType="application/vnd.openxmlformats-officedocument.drawingml.chart+xml"/>
  <Override PartName="/ppt/notesSlides/notesSlide10.xml" ContentType="application/vnd.openxmlformats-officedocument.presentationml.notesSlide+xml"/>
  <Override PartName="/ppt/charts/chart4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heme/themeOverride1.xml" ContentType="application/vnd.openxmlformats-officedocument.themeOverride+xml"/>
  <Override PartName="/ppt/notesSlides/notesSlide11.xml" ContentType="application/vnd.openxmlformats-officedocument.presentationml.notesSlide+xml"/>
  <Override PartName="/ppt/charts/chart5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theme/themeOverride2.xml" ContentType="application/vnd.openxmlformats-officedocument.themeOverride+xml"/>
  <Override PartName="/ppt/notesSlides/notesSlide12.xml" ContentType="application/vnd.openxmlformats-officedocument.presentationml.notesSlide+xml"/>
  <Override PartName="/ppt/charts/chart6.xml" ContentType="application/vnd.openxmlformats-officedocument.drawingml.chart+xml"/>
  <Override PartName="/ppt/notesSlides/notesSlide13.xml" ContentType="application/vnd.openxmlformats-officedocument.presentationml.notesSlide+xml"/>
  <Override PartName="/ppt/charts/chart7.xml" ContentType="application/vnd.openxmlformats-officedocument.drawingml.chart+xml"/>
  <Override PartName="/ppt/theme/themeOverride3.xml" ContentType="application/vnd.openxmlformats-officedocument.themeOverride+xml"/>
  <Override PartName="/ppt/notesSlides/notesSlide14.xml" ContentType="application/vnd.openxmlformats-officedocument.presentationml.notesSlide+xml"/>
  <Override PartName="/ppt/charts/chart8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notesSlides/notesSlide15.xml" ContentType="application/vnd.openxmlformats-officedocument.presentationml.notesSlide+xml"/>
  <Override PartName="/ppt/notesSlides/notesSlide16.xml" ContentType="application/vnd.openxmlformats-officedocument.presentationml.notesSlide+xml"/>
  <Override PartName="/ppt/charts/chart9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heme/themeOverride4.xml" ContentType="application/vnd.openxmlformats-officedocument.themeOverr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notesSlides/notesSlide19.xml" ContentType="application/vnd.openxmlformats-officedocument.presentationml.notesSlide+xml"/>
  <Override PartName="/ppt/notesSlides/notesSlide20.xml" ContentType="application/vnd.openxmlformats-officedocument.presentationml.notesSlide+xml"/>
  <Override PartName="/ppt/notesSlides/notesSlide21.xml" ContentType="application/vnd.openxmlformats-officedocument.presentationml.notesSlide+xml"/>
  <Override PartName="/ppt/notesSlides/notesSlide22.xml" ContentType="application/vnd.openxmlformats-officedocument.presentationml.notesSlide+xml"/>
  <Override PartName="/ppt/notesSlides/notesSlide23.xml" ContentType="application/vnd.openxmlformats-officedocument.presentationml.notesSlide+xml"/>
  <Override PartName="/ppt/notesSlides/notesSlide24.xml" ContentType="application/vnd.openxmlformats-officedocument.presentationml.notesSlide+xml"/>
  <Override PartName="/ppt/notesSlides/notesSlide25.xml" ContentType="application/vnd.openxmlformats-officedocument.presentationml.notesSlide+xml"/>
  <Override PartName="/ppt/notesSlides/notesSlide26.xml" ContentType="application/vnd.openxmlformats-officedocument.presentationml.notesSlide+xml"/>
  <Override PartName="/ppt/notesSlides/notesSlide27.xml" ContentType="application/vnd.openxmlformats-officedocument.presentationml.notesSlide+xml"/>
  <Override PartName="/ppt/notesSlides/notesSlide28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</p:sldMasterIdLst>
  <p:notesMasterIdLst>
    <p:notesMasterId r:id="rId30"/>
  </p:notesMasterIdLst>
  <p:handoutMasterIdLst>
    <p:handoutMasterId r:id="rId31"/>
  </p:handoutMasterIdLst>
  <p:sldIdLst>
    <p:sldId id="271" r:id="rId2"/>
    <p:sldId id="272" r:id="rId3"/>
    <p:sldId id="274" r:id="rId4"/>
    <p:sldId id="273" r:id="rId5"/>
    <p:sldId id="276" r:id="rId6"/>
    <p:sldId id="278" r:id="rId7"/>
    <p:sldId id="1723" r:id="rId8"/>
    <p:sldId id="277" r:id="rId9"/>
    <p:sldId id="1731" r:id="rId10"/>
    <p:sldId id="1732" r:id="rId11"/>
    <p:sldId id="1733" r:id="rId12"/>
    <p:sldId id="1734" r:id="rId13"/>
    <p:sldId id="1735" r:id="rId14"/>
    <p:sldId id="1736" r:id="rId15"/>
    <p:sldId id="1738" r:id="rId16"/>
    <p:sldId id="1740" r:id="rId17"/>
    <p:sldId id="1726" r:id="rId18"/>
    <p:sldId id="268" r:id="rId19"/>
    <p:sldId id="1727" r:id="rId20"/>
    <p:sldId id="1728" r:id="rId21"/>
    <p:sldId id="1729" r:id="rId22"/>
    <p:sldId id="280" r:id="rId23"/>
    <p:sldId id="1730" r:id="rId24"/>
    <p:sldId id="1742" r:id="rId25"/>
    <p:sldId id="316" r:id="rId26"/>
    <p:sldId id="1673" r:id="rId27"/>
    <p:sldId id="1704" r:id="rId28"/>
    <p:sldId id="1714" r:id="rId29"/>
  </p:sldIdLst>
  <p:sldSz cx="24384000" cy="13716000"/>
  <p:notesSz cx="6797675" cy="9926638"/>
  <p:defaultTextStyle>
    <a:defPPr marL="0" marR="0" indent="0" algn="l" defTabSz="914377" rtl="0" fontAlgn="auto" latinLnBrk="1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1800" b="0" i="0" u="none" strike="noStrike" cap="none" spc="0" normalizeH="0" baseline="0">
        <a:ln>
          <a:noFill/>
        </a:ln>
        <a:solidFill>
          <a:srgbClr val="000000"/>
        </a:solidFill>
        <a:effectLst/>
        <a:uFillTx/>
      </a:defRPr>
    </a:defPPr>
    <a:lvl1pPr marL="0" marR="0" indent="0" algn="ctr" defTabSz="82548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1pPr>
    <a:lvl2pPr marL="0" marR="0" indent="228594" algn="ctr" defTabSz="82548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2pPr>
    <a:lvl3pPr marL="0" marR="0" indent="457189" algn="ctr" defTabSz="82548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3pPr>
    <a:lvl4pPr marL="0" marR="0" indent="685783" algn="ctr" defTabSz="82548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4pPr>
    <a:lvl5pPr marL="0" marR="0" indent="914377" algn="ctr" defTabSz="82548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5pPr>
    <a:lvl6pPr marL="0" marR="0" indent="1142971" algn="ctr" defTabSz="82548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6pPr>
    <a:lvl7pPr marL="0" marR="0" indent="1371566" algn="ctr" defTabSz="82548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7pPr>
    <a:lvl8pPr marL="0" marR="0" indent="1600160" algn="ctr" defTabSz="82548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8pPr>
    <a:lvl9pPr marL="0" marR="0" indent="1828754" algn="ctr" defTabSz="825481" rtl="0" fontAlgn="auto" latinLnBrk="0" hangingPunct="0">
      <a:lnSpc>
        <a:spcPct val="100000"/>
      </a:lnSpc>
      <a:spcBef>
        <a:spcPts val="0"/>
      </a:spcBef>
      <a:spcAft>
        <a:spcPts val="0"/>
      </a:spcAft>
      <a:buClrTx/>
      <a:buSzTx/>
      <a:buFontTx/>
      <a:buNone/>
      <a:tabLst/>
      <a:defRPr kumimoji="0" sz="5000" b="0" i="0" u="none" strike="noStrike" cap="none" spc="0" normalizeH="0" baseline="0">
        <a:ln>
          <a:noFill/>
        </a:ln>
        <a:solidFill>
          <a:srgbClr val="000000"/>
        </a:solidFill>
        <a:effectLst/>
        <a:uFillTx/>
        <a:latin typeface="+mn-lt"/>
        <a:ea typeface="+mn-ea"/>
        <a:cs typeface="+mn-cs"/>
        <a:sym typeface="Helvetica Light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75091"/>
    <a:srgbClr val="66C63C"/>
    <a:srgbClr val="00C3E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940675A-B579-460E-94D1-54222C63F5DA}">
  <a:tblStyle styleId="{4C3C2611-4C71-4FC5-86AE-919BDF0F9419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wholeTbl>
    <a:band2H>
      <a:tcTxStyle/>
      <a:tcStyle>
        <a:tcBdr/>
        <a:fill>
          <a:solidFill>
            <a:srgbClr val="E3E5E8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398CCE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solidFill>
                <a:srgbClr val="3797C6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rgbClr val="FFFFFF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noFill/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noFill/>
              <a:miter lim="400000"/>
            </a:ln>
          </a:insideH>
          <a:insideV>
            <a:ln w="12700" cap="flat">
              <a:noFill/>
              <a:miter lim="400000"/>
            </a:ln>
          </a:insideV>
        </a:tcBdr>
        <a:fill>
          <a:solidFill>
            <a:schemeClr val="accent1"/>
          </a:solidFill>
        </a:fill>
      </a:tcStyle>
    </a:firstRow>
  </a:tblStyle>
  <a:tblStyle styleId="{C7B018BB-80A7-4F77-B60F-C8B233D01FF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12700" cap="flat">
              <a:solidFill>
                <a:srgbClr val="B8B8B8"/>
              </a:solidFill>
              <a:prstDash val="solid"/>
              <a:miter lim="400000"/>
            </a:ln>
          </a:top>
          <a:bottom>
            <a:ln w="12700" cap="flat">
              <a:solidFill>
                <a:srgbClr val="B8B8B8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E1E0DA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rgbClr val="5AC831"/>
          </a:solidFill>
        </a:fill>
      </a:tcStyle>
    </a:firstCol>
    <a:lastRow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B8B8B8"/>
              </a:solidFill>
              <a:prstDash val="solid"/>
              <a:miter lim="400000"/>
            </a:ln>
          </a:left>
          <a:right>
            <a:ln w="12700" cap="flat">
              <a:solidFill>
                <a:srgbClr val="B8B8B8"/>
              </a:solidFill>
              <a:prstDash val="solid"/>
              <a:miter lim="400000"/>
            </a:ln>
          </a:right>
          <a:top>
            <a:ln w="254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B8B8B8"/>
              </a:solidFill>
              <a:prstDash val="solid"/>
              <a:miter lim="400000"/>
            </a:ln>
          </a:insideH>
          <a:insideV>
            <a:ln w="12700" cap="flat">
              <a:solidFill>
                <a:srgbClr val="B8B8B8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606060"/>
              </a:solidFill>
              <a:prstDash val="solid"/>
              <a:miter lim="400000"/>
            </a:ln>
          </a:left>
          <a:right>
            <a:ln w="12700" cap="flat">
              <a:solidFill>
                <a:srgbClr val="606060"/>
              </a:solidFill>
              <a:prstDash val="solid"/>
              <a:miter lim="400000"/>
            </a:ln>
          </a:right>
          <a:top>
            <a:ln w="12700" cap="flat">
              <a:solidFill>
                <a:srgbClr val="606060"/>
              </a:solidFill>
              <a:prstDash val="solid"/>
              <a:miter lim="400000"/>
            </a:ln>
          </a:top>
          <a:bottom>
            <a:ln w="12700" cap="flat">
              <a:solidFill>
                <a:srgbClr val="606060"/>
              </a:solidFill>
              <a:prstDash val="solid"/>
              <a:miter lim="400000"/>
            </a:ln>
          </a:bottom>
          <a:insideH>
            <a:ln w="12700" cap="flat">
              <a:solidFill>
                <a:srgbClr val="606060"/>
              </a:solidFill>
              <a:prstDash val="solid"/>
              <a:miter lim="400000"/>
            </a:ln>
          </a:insideH>
          <a:insideV>
            <a:ln w="12700" cap="flat">
              <a:solidFill>
                <a:srgbClr val="606060"/>
              </a:solidFill>
              <a:prstDash val="solid"/>
              <a:miter lim="400000"/>
            </a:ln>
          </a:insideV>
        </a:tcBdr>
        <a:fill>
          <a:solidFill>
            <a:schemeClr val="accent2"/>
          </a:solidFill>
        </a:fill>
      </a:tcStyle>
    </a:firstRow>
  </a:tblStyle>
  <a:tblStyle styleId="{EEE7283C-3CF3-47DC-8721-378D4A62B228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5D5D5D"/>
              </a:solidFill>
              <a:custDash>
                <a:ds d="200000" sp="200000"/>
              </a:custDash>
              <a:miter lim="400000"/>
            </a:ln>
          </a:insideV>
        </a:tcBdr>
        <a:fill>
          <a:solidFill>
            <a:srgbClr val="E6E4D7"/>
          </a:solidFill>
        </a:fill>
      </a:tcStyle>
    </a:wholeTbl>
    <a:band2H>
      <a:tcTxStyle/>
      <a:tcStyle>
        <a:tcBdr/>
        <a:fill>
          <a:solidFill>
            <a:srgbClr val="C3C2C2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09C99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5D5D5D"/>
              </a:solidFill>
              <a:prstDash val="solid"/>
              <a:miter lim="400000"/>
            </a:ln>
          </a:left>
          <a:right>
            <a:ln w="12700" cap="flat">
              <a:solidFill>
                <a:srgbClr val="5D5D5D"/>
              </a:solidFill>
              <a:prstDash val="solid"/>
              <a:miter lim="400000"/>
            </a:ln>
          </a:right>
          <a:top>
            <a:ln w="12700" cap="flat">
              <a:solidFill>
                <a:srgbClr val="5D5D5D"/>
              </a:solidFill>
              <a:prstDash val="solid"/>
              <a:miter lim="400000"/>
            </a:ln>
          </a:top>
          <a:bottom>
            <a:ln w="12700" cap="flat">
              <a:solidFill>
                <a:srgbClr val="5D5D5D"/>
              </a:solidFill>
              <a:prstDash val="solid"/>
              <a:miter lim="400000"/>
            </a:ln>
          </a:bottom>
          <a:insideH>
            <a:ln w="12700" cap="flat">
              <a:solidFill>
                <a:srgbClr val="5D5D5D"/>
              </a:solidFill>
              <a:prstDash val="solid"/>
              <a:miter lim="400000"/>
            </a:ln>
          </a:insideH>
          <a:insideV>
            <a:ln w="12700" cap="flat">
              <a:solidFill>
                <a:srgbClr val="5D5D5D"/>
              </a:solidFill>
              <a:prstDash val="solid"/>
              <a:miter lim="400000"/>
            </a:ln>
          </a:insideV>
        </a:tcBdr>
        <a:fill>
          <a:solidFill>
            <a:srgbClr val="97764E"/>
          </a:solidFill>
        </a:fill>
      </a:tcStyle>
    </a:firstRow>
  </a:tblStyle>
  <a:tblStyle styleId="{CF821DB8-F4EB-4A41-A1BA-3FCAFE7338EE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EBEBEB"/>
          </a:solidFill>
        </a:fill>
      </a:tcStyle>
    </a:wholeTbl>
    <a:band2H>
      <a:tcTxStyle/>
      <a:tcStyle>
        <a:tcBdr/>
        <a:fill>
          <a:solidFill>
            <a:srgbClr val="DCE5E6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000000"/>
              </a:solidFill>
              <a:prstDash val="solid"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prstDash val="solid"/>
              <a:miter lim="400000"/>
            </a:ln>
          </a:insideH>
          <a:insideV>
            <a:ln w="12700" cap="flat">
              <a:solidFill>
                <a:srgbClr val="000000"/>
              </a:solidFill>
              <a:prstDash val="solid"/>
              <a:miter lim="400000"/>
            </a:ln>
          </a:insideV>
        </a:tcBdr>
        <a:fill>
          <a:solidFill>
            <a:srgbClr val="5E7790"/>
          </a:solidFill>
        </a:fill>
      </a:tcStyle>
    </a:firstRow>
  </a:tblStyle>
  <a:tblStyle styleId="{33BA23B1-9221-436E-865A-0063620EA4FD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D0D1D2"/>
          </a:solidFill>
        </a:fill>
      </a:tcStyle>
    </a:wholeTbl>
    <a:band2H>
      <a:tcTxStyle/>
      <a:tcStyle>
        <a:tcBdr/>
        <a:fill>
          <a:solidFill>
            <a:srgbClr val="DEDEDF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535761"/>
          </a:solidFill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909398"/>
          </a:solidFill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FFFFFF"/>
      </a:tcTxStyle>
      <a:tcStyle>
        <a:tcBdr>
          <a:left>
            <a:ln w="12700" cap="flat">
              <a:solidFill>
                <a:srgbClr val="FFFFFF"/>
              </a:solidFill>
              <a:prstDash val="solid"/>
              <a:miter lim="400000"/>
            </a:ln>
          </a:left>
          <a:right>
            <a:ln w="12700" cap="flat">
              <a:solidFill>
                <a:srgbClr val="FFFFFF"/>
              </a:solidFill>
              <a:prstDash val="solid"/>
              <a:miter lim="400000"/>
            </a:ln>
          </a:right>
          <a:top>
            <a:ln w="12700" cap="flat">
              <a:solidFill>
                <a:srgbClr val="FFFFFF"/>
              </a:solidFill>
              <a:prstDash val="solid"/>
              <a:miter lim="400000"/>
            </a:ln>
          </a:top>
          <a:bottom>
            <a:ln w="12700" cap="flat">
              <a:solidFill>
                <a:srgbClr val="FFFFFF"/>
              </a:solidFill>
              <a:prstDash val="solid"/>
              <a:miter lim="400000"/>
            </a:ln>
          </a:bottom>
          <a:insideH>
            <a:ln w="12700" cap="flat">
              <a:solidFill>
                <a:srgbClr val="FFFFFF"/>
              </a:solidFill>
              <a:prstDash val="solid"/>
              <a:miter lim="400000"/>
            </a:ln>
          </a:insideH>
          <a:insideV>
            <a:ln w="12700" cap="flat">
              <a:solidFill>
                <a:srgbClr val="FFFFFF"/>
              </a:solidFill>
              <a:prstDash val="solid"/>
              <a:miter lim="400000"/>
            </a:ln>
          </a:insideV>
        </a:tcBdr>
        <a:fill>
          <a:solidFill>
            <a:srgbClr val="767C85"/>
          </a:solidFill>
        </a:fill>
      </a:tcStyle>
    </a:firstRow>
  </a:tblStyle>
  <a:tblStyle styleId="{2708684C-4D16-4618-839F-0558EEFCDFE6}" styleName="">
    <a:tblBg/>
    <a:wholeTbl>
      <a:tcTxStyle b="off" i="off">
        <a:fontRef idx="minor">
          <a:srgbClr val="000000"/>
        </a:fontRef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wholeTbl>
    <a:band2H>
      <a:tcTxStyle/>
      <a:tcStyle>
        <a:tcBdr/>
        <a:fill>
          <a:solidFill>
            <a:srgbClr val="EDEEEE"/>
          </a:solidFill>
        </a:fill>
      </a:tcStyle>
    </a:band2H>
    <a:firstCol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noFill/>
              <a:miter lim="400000"/>
            </a:ln>
          </a:left>
          <a:right>
            <a:ln w="12700" cap="flat">
              <a:solidFill>
                <a:srgbClr val="000000"/>
              </a:solidFill>
              <a:prstDash val="solid"/>
              <a:miter lim="400000"/>
            </a:ln>
          </a:right>
          <a:top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top>
          <a:bottom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Col>
    <a:la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solidFill>
                <a:srgbClr val="000000"/>
              </a:solidFill>
              <a:prstDash val="solid"/>
              <a:miter lim="400000"/>
            </a:ln>
          </a:top>
          <a:bottom>
            <a:ln w="12700" cap="flat">
              <a:noFill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lastRow>
    <a:firstRow>
      <a:tcTxStyle b="on" i="off">
        <a:font>
          <a:latin typeface="Helvetica"/>
          <a:ea typeface="Helvetica"/>
          <a:cs typeface="Helvetica"/>
        </a:font>
        <a:srgbClr val="000000"/>
      </a:tcTxStyle>
      <a:tcStyle>
        <a:tcBdr>
          <a:lef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left>
          <a:right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right>
          <a:top>
            <a:ln w="12700" cap="flat">
              <a:noFill/>
              <a:miter lim="400000"/>
            </a:ln>
          </a:top>
          <a:bottom>
            <a:ln w="12700" cap="flat">
              <a:solidFill>
                <a:srgbClr val="000000"/>
              </a:solidFill>
              <a:prstDash val="solid"/>
              <a:miter lim="400000"/>
            </a:ln>
          </a:bottom>
          <a:insideH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H>
          <a:insideV>
            <a:ln w="12700" cap="flat">
              <a:solidFill>
                <a:srgbClr val="000000"/>
              </a:solidFill>
              <a:custDash>
                <a:ds d="200000" sp="200000"/>
              </a:custDash>
              <a:miter lim="400000"/>
            </a:ln>
          </a:insideV>
        </a:tcBdr>
        <a:fill>
          <a:noFill/>
        </a:fill>
      </a:tcStyle>
    </a:firstRow>
  </a:tblStyle>
  <a:tblStyle styleId="{3B4B98B0-60AC-42C2-AFA5-B58CD77FA1E5}" styleName="Φωτεινό στυλ 1 - Έμφαση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  <a:tblStyle styleId="{3C2FFA5D-87B4-456A-9821-1D502468CF0F}" styleName="Themed Style 1 - Accent 1">
    <a:tblBg>
      <a:fillRef idx="2">
        <a:schemeClr val="accent1"/>
      </a:fillRef>
      <a:effectRef idx="1">
        <a:schemeClr val="accent1"/>
      </a:effectRef>
    </a:tblBg>
    <a:wholeTbl>
      <a:tcTxStyle>
        <a:fontRef idx="minor">
          <a:scrgbClr r="0" g="0" b="0"/>
        </a:fontRef>
        <a:schemeClr val="dk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Ref idx="1">
              <a:schemeClr val="accent1"/>
            </a:lnRef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40000"/>
            </a:schemeClr>
          </a:solidFill>
        </a:fill>
      </a:tcStyle>
    </a:band1H>
    <a:band2H>
      <a:tcStyle>
        <a:tcBdr/>
      </a:tcStyle>
    </a:band2H>
    <a:band1V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  <a:fill>
          <a:solidFill>
            <a:schemeClr val="accent1">
              <a:alpha val="40000"/>
            </a:schemeClr>
          </a:solidFill>
        </a:fill>
      </a:tcStyle>
    </a:band1V>
    <a:band2V>
      <a:tcStyle>
        <a:tcBdr/>
      </a:tcStyle>
    </a:band2V>
    <a:lastCol>
      <a:tcTxStyle b="on"/>
      <a:tcStyle>
        <a:tcBdr>
          <a:left>
            <a:lnRef idx="2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lastCol>
    <a:firstCol>
      <a:tcTxStyle b="on"/>
      <a:tcStyle>
        <a:tcBdr>
          <a:left>
            <a:lnRef idx="1">
              <a:schemeClr val="accent1"/>
            </a:lnRef>
          </a:left>
          <a:right>
            <a:lnRef idx="2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Ref idx="1">
              <a:schemeClr val="accent1"/>
            </a:lnRef>
          </a:insideH>
          <a:insideV>
            <a:ln>
              <a:noFill/>
            </a:ln>
          </a:insideV>
        </a:tcBdr>
      </a:tcStyle>
    </a:firstCol>
    <a:lastRow>
      <a:tcTxStyle b="on"/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2">
              <a:schemeClr val="accent1"/>
            </a:lnRef>
          </a:top>
          <a:bottom>
            <a:lnRef idx="2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2">
              <a:schemeClr val="l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0847"/>
    <p:restoredTop sz="94673"/>
  </p:normalViewPr>
  <p:slideViewPr>
    <p:cSldViewPr snapToGrid="0" snapToObjects="1">
      <p:cViewPr varScale="1">
        <p:scale>
          <a:sx n="55" d="100"/>
          <a:sy n="55" d="100"/>
        </p:scale>
        <p:origin x="906" y="78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80" d="100"/>
          <a:sy n="80" d="100"/>
        </p:scale>
        <p:origin x="4014" y="60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slide" Target="slides/slide25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34" Type="http://schemas.openxmlformats.org/officeDocument/2006/relationships/theme" Target="theme/theme1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slide" Target="slides/slide24.xml"/><Relationship Id="rId33" Type="http://schemas.openxmlformats.org/officeDocument/2006/relationships/viewProps" Target="viewProps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29" Type="http://schemas.openxmlformats.org/officeDocument/2006/relationships/slide" Target="slides/slide28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slide" Target="slides/slide23.xml"/><Relationship Id="rId32" Type="http://schemas.openxmlformats.org/officeDocument/2006/relationships/presProps" Target="pres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slide" Target="slides/slide22.xml"/><Relationship Id="rId28" Type="http://schemas.openxmlformats.org/officeDocument/2006/relationships/slide" Target="slides/slide27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31" Type="http://schemas.openxmlformats.org/officeDocument/2006/relationships/handoutMaster" Target="handoutMasters/handoutMaster1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slide" Target="slides/slide21.xml"/><Relationship Id="rId27" Type="http://schemas.openxmlformats.org/officeDocument/2006/relationships/slide" Target="slides/slide26.xml"/><Relationship Id="rId30" Type="http://schemas.openxmlformats.org/officeDocument/2006/relationships/notesMaster" Target="notesMasters/notesMaster1.xml"/><Relationship Id="rId35" Type="http://schemas.openxmlformats.org/officeDocument/2006/relationships/tableStyles" Target="tableStyles.xml"/><Relationship Id="rId8" Type="http://schemas.openxmlformats.org/officeDocument/2006/relationships/slide" Target="slides/slide7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1" Type="http://schemas.openxmlformats.org/officeDocument/2006/relationships/oleObject" Target="file:///G:\&#922;&#913;&#923;&#913;&#924;&#913;&#932;&#913;%2016-17%20&#921;&#927;&#933;&#925;&#921;&#927;&#933;%202022\&#917;&#931;&#928;&#913;%202021-2027.xlsx" TargetMode="Externa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1.xml"/><Relationship Id="rId2" Type="http://schemas.microsoft.com/office/2011/relationships/chartColorStyle" Target="colors3.xml"/><Relationship Id="rId1" Type="http://schemas.microsoft.com/office/2011/relationships/chartStyle" Target="style3.xml"/><Relationship Id="rId4" Type="http://schemas.openxmlformats.org/officeDocument/2006/relationships/package" Target="../embeddings/Microsoft_Excel_Worksheet2.xlsx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2.xml"/><Relationship Id="rId2" Type="http://schemas.microsoft.com/office/2011/relationships/chartColorStyle" Target="colors4.xml"/><Relationship Id="rId1" Type="http://schemas.microsoft.com/office/2011/relationships/chartStyle" Target="style4.xml"/><Relationship Id="rId4" Type="http://schemas.openxmlformats.org/officeDocument/2006/relationships/package" Target="../embeddings/Microsoft_Excel_Worksheet3.xlsx"/></Relationships>
</file>

<file path=ppt/charts/_rels/chart6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4.xlsx"/></Relationships>
</file>

<file path=ppt/charts/_rels/chart7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5.xlsx"/><Relationship Id="rId1" Type="http://schemas.openxmlformats.org/officeDocument/2006/relationships/themeOverride" Target="../theme/themeOverride3.xml"/></Relationships>
</file>

<file path=ppt/charts/_rels/chart8.xml.rels><?xml version="1.0" encoding="UTF-8" standalone="yes"?>
<Relationships xmlns="http://schemas.openxmlformats.org/package/2006/relationships"><Relationship Id="rId3" Type="http://schemas.openxmlformats.org/officeDocument/2006/relationships/oleObject" Target="file:///G:\&#922;&#913;&#923;&#913;&#924;&#913;&#932;&#913;%2016-17%20&#921;&#927;&#933;&#925;&#921;&#927;&#933;%202022\&#917;&#931;&#928;&#913;%202021-2027.xlsx" TargetMode="External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9.xml.rels><?xml version="1.0" encoding="UTF-8" standalone="yes"?>
<Relationships xmlns="http://schemas.openxmlformats.org/package/2006/relationships"><Relationship Id="rId3" Type="http://schemas.openxmlformats.org/officeDocument/2006/relationships/themeOverride" Target="../theme/themeOverride4.xml"/><Relationship Id="rId2" Type="http://schemas.microsoft.com/office/2011/relationships/chartColorStyle" Target="colors6.xml"/><Relationship Id="rId1" Type="http://schemas.microsoft.com/office/2011/relationships/chartStyle" Target="style6.xml"/><Relationship Id="rId4" Type="http://schemas.openxmlformats.org/officeDocument/2006/relationships/package" Target="../embeddings/Microsoft_Excel_Worksheet6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1-D038-4FA0-ABC3-DCC31A882E8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2-D038-4FA0-ABC3-DCC31A882E8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5-324D-4C12-9D47-05A8748A93F8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 w="25400">
                <a:solidFill>
                  <a:schemeClr val="lt1"/>
                </a:solidFill>
              </a:ln>
              <a:effectLst/>
              <a:sp3d contourW="25400">
                <a:contourClr>
                  <a:schemeClr val="lt1"/>
                </a:contourClr>
              </a:sp3d>
            </c:spPr>
            <c:extLst>
              <c:ext xmlns:c16="http://schemas.microsoft.com/office/drawing/2014/chart" uri="{C3380CC4-5D6E-409C-BE32-E72D297353CC}">
                <c16:uniqueId val="{00000007-324D-4C12-9D47-05A8748A93F8}"/>
              </c:ext>
            </c:extLst>
          </c:dPt>
          <c:cat>
            <c:strRef>
              <c:f>Sheet1!$A$2:$A$5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.3</c:v>
                </c:pt>
                <c:pt idx="1">
                  <c:v>20.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038-4FA0-ABC3-DCC31A882E8F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barChart>
        <c:barDir val="bar"/>
        <c:grouping val="clustered"/>
        <c:varyColors val="0"/>
        <c:ser>
          <c:idx val="0"/>
          <c:order val="0"/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Arial" panose="020B0604020202020204" pitchFamily="34" charset="0"/>
                    <a:ea typeface="+mn-ea"/>
                    <a:cs typeface="+mn-cs"/>
                  </a:defRPr>
                </a:pPr>
                <a:endParaRPr lang="el-GR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Sheet1!$A$2:$A$11</c:f>
              <c:strCache>
                <c:ptCount val="10"/>
                <c:pt idx="0">
                  <c:v>13 Περιφερειακά Προγράμματα</c:v>
                </c:pt>
                <c:pt idx="1">
                  <c:v>ΕΤΘΑΥ</c:v>
                </c:pt>
                <c:pt idx="2">
                  <c:v>Δίκαιη Αναπτυξιακή Μετάβαση</c:v>
                </c:pt>
                <c:pt idx="3">
                  <c:v>Τεχνική Βοήθεια και Υποστήριξη Δικαιούχων</c:v>
                </c:pt>
                <c:pt idx="4">
                  <c:v>Πολιτική Προστασία</c:v>
                </c:pt>
                <c:pt idx="5">
                  <c:v>Μεταφορές</c:v>
                </c:pt>
                <c:pt idx="6">
                  <c:v>Περιβάλλον και Κλιματική Αλλαγή</c:v>
                </c:pt>
                <c:pt idx="7">
                  <c:v>Ψηφιακός Μετασχηματισμός</c:v>
                </c:pt>
                <c:pt idx="8">
                  <c:v>Ανθρώπινο Δυναμικό και Κοινωνική Συνοχή</c:v>
                </c:pt>
                <c:pt idx="9">
                  <c:v>Ανταγωνιστικότητα</c:v>
                </c:pt>
              </c:strCache>
            </c:strRef>
          </c:cat>
          <c:val>
            <c:numRef>
              <c:f>Sheet1!$B$2:$B$11</c:f>
              <c:numCache>
                <c:formatCode>General</c:formatCode>
                <c:ptCount val="10"/>
                <c:pt idx="0">
                  <c:v>8066</c:v>
                </c:pt>
                <c:pt idx="1">
                  <c:v>455</c:v>
                </c:pt>
                <c:pt idx="2">
                  <c:v>1629</c:v>
                </c:pt>
                <c:pt idx="3">
                  <c:v>504</c:v>
                </c:pt>
                <c:pt idx="4">
                  <c:v>714</c:v>
                </c:pt>
                <c:pt idx="5">
                  <c:v>2224</c:v>
                </c:pt>
                <c:pt idx="6">
                  <c:v>3607</c:v>
                </c:pt>
                <c:pt idx="7">
                  <c:v>943</c:v>
                </c:pt>
                <c:pt idx="8">
                  <c:v>4162</c:v>
                </c:pt>
                <c:pt idx="9">
                  <c:v>3885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D8DE-4789-B57B-FAAF1F5BAA6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182"/>
        <c:axId val="102693840"/>
        <c:axId val="102697584"/>
      </c:barChart>
      <c:catAx>
        <c:axId val="102693840"/>
        <c:scaling>
          <c:orientation val="minMax"/>
        </c:scaling>
        <c:delete val="0"/>
        <c:axPos val="l"/>
        <c:numFmt formatCode="General" sourceLinked="1"/>
        <c:majorTickMark val="none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1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+mn-cs"/>
              </a:defRPr>
            </a:pPr>
            <a:endParaRPr lang="el-GR"/>
          </a:p>
        </c:txPr>
        <c:crossAx val="102697584"/>
        <c:crosses val="autoZero"/>
        <c:auto val="1"/>
        <c:lblAlgn val="ctr"/>
        <c:lblOffset val="100"/>
        <c:noMultiLvlLbl val="0"/>
      </c:catAx>
      <c:valAx>
        <c:axId val="102697584"/>
        <c:scaling>
          <c:orientation val="minMax"/>
        </c:scaling>
        <c:delete val="0"/>
        <c:axPos val="b"/>
        <c:majorGridlines>
          <c:spPr>
            <a:ln w="9525" cap="flat" cmpd="sng" algn="ctr">
              <a:solidFill>
                <a:schemeClr val="tx1">
                  <a:lumMod val="15000"/>
                  <a:lumOff val="85000"/>
                </a:schemeClr>
              </a:solidFill>
              <a:round/>
            </a:ln>
            <a:effectLst/>
          </c:spPr>
        </c:majorGridlines>
        <c:numFmt formatCode="General" sourceLinked="1"/>
        <c:majorTickMark val="none"/>
        <c:min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8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defRPr>
            </a:pPr>
            <a:endParaRPr lang="el-GR"/>
          </a:p>
        </c:txPr>
        <c:crossAx val="102693840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Ανταγωνιστικότητα!$B$1</c:f>
              <c:strCache>
                <c:ptCount val="1"/>
                <c:pt idx="0">
                  <c:v>Ποσά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E591-4350-AC35-CBB718CA6ECF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E591-4350-AC35-CBB718CA6ECF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E591-4350-AC35-CBB718CA6ECF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E591-4350-AC35-CBB718CA6ECF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E591-4350-AC35-CBB718CA6ECF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203225559442221"/>
                      <c:h val="0.2967048394489049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E591-4350-AC35-CBB718CA6ECF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E591-4350-AC35-CBB718CA6ECF}"/>
                </c:ext>
              </c:extLst>
            </c:dLbl>
            <c:dLbl>
              <c:idx val="3"/>
              <c:layout>
                <c:manualLayout>
                  <c:x val="-2.0448274761225956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2937712462816726"/>
                      <c:h val="0.345399517482823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E591-4350-AC35-CBB718CA6ECF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E591-4350-AC35-CBB718CA6ECF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spc="0" baseline="0">
                    <a:solidFill>
                      <a:schemeClr val="accen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Ανταγωνιστικότητα!$A$2:$A$6</c:f>
              <c:strCache>
                <c:ptCount val="5"/>
                <c:pt idx="0">
                  <c:v> Ενίσχυση έρευνας &amp; καινοτομίας</c:v>
                </c:pt>
                <c:pt idx="1">
                  <c:v> Ενίσχυση επιχειρηματικότητας &amp; ανταγωνιστικότητας</c:v>
                </c:pt>
                <c:pt idx="2">
                  <c:v>Βελτίωση πρόσβασης επιχειρήσεων σε χρηματοδότηση</c:v>
                </c:pt>
                <c:pt idx="3">
                  <c:v>Ανάπτυξη ανθρώπινου κεφαλαίου στο πλαίσιο του αναπτυξιακού μετασχηματισμού</c:v>
                </c:pt>
                <c:pt idx="4">
                  <c:v>Τεχνική βοήθεια</c:v>
                </c:pt>
              </c:strCache>
            </c:strRef>
          </c:cat>
          <c:val>
            <c:numRef>
              <c:f>Ανταγωνιστικότητα!$B$2:$B$6</c:f>
              <c:numCache>
                <c:formatCode>0</c:formatCode>
                <c:ptCount val="5"/>
                <c:pt idx="0">
                  <c:v>772.850595</c:v>
                </c:pt>
                <c:pt idx="1">
                  <c:v>1589.4111640000001</c:v>
                </c:pt>
                <c:pt idx="2">
                  <c:v>920.88567899999998</c:v>
                </c:pt>
                <c:pt idx="3">
                  <c:v>530.94663100000002</c:v>
                </c:pt>
                <c:pt idx="4">
                  <c:v>70.991422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E591-4350-AC35-CBB718CA6ECF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7.2238924122968326E-2"/>
          <c:y val="7.2790916754122234E-2"/>
          <c:w val="0.85851876080777489"/>
          <c:h val="0.84265710223582924"/>
        </c:manualLayout>
      </c:layout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033B-4562-86B3-74164F23B9CB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033B-4562-86B3-74164F23B9CB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033B-4562-86B3-74164F23B9CB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033B-4562-86B3-74164F23B9CB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033B-4562-86B3-74164F23B9CB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B-033B-4562-86B3-74164F23B9CB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D-033B-4562-86B3-74164F23B9CB}"/>
              </c:ext>
            </c:extLst>
          </c:dPt>
          <c:dLbls>
            <c:dLbl>
              <c:idx val="0"/>
              <c:layout>
                <c:manualLayout>
                  <c:x val="7.1169465025649623E-2"/>
                  <c:y val="5.7879253227983831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33432046433283125"/>
                      <c:h val="0.19376353361638601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033B-4562-86B3-74164F23B9CB}"/>
                </c:ext>
              </c:extLst>
            </c:dLbl>
            <c:dLbl>
              <c:idx val="1"/>
              <c:layout>
                <c:manualLayout>
                  <c:x val="-1.4233893005130033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033B-4562-86B3-74164F23B9CB}"/>
                </c:ext>
              </c:extLst>
            </c:dLbl>
            <c:dLbl>
              <c:idx val="2"/>
              <c:layout>
                <c:manualLayout>
                  <c:x val="0.30865073253229086"/>
                  <c:y val="-1.0290931223935526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5-033B-4562-86B3-74164F23B9CB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033B-4562-86B3-74164F23B9CB}"/>
                </c:ext>
              </c:extLst>
            </c:dLbl>
            <c:dLbl>
              <c:idx val="4"/>
              <c:layout>
                <c:manualLayout>
                  <c:x val="0"/>
                  <c:y val="0.11025997739930921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033B-4562-86B3-74164F23B9CB}"/>
                </c:ext>
              </c:extLst>
            </c:dLbl>
            <c:dLbl>
              <c:idx val="5"/>
              <c:layout>
                <c:manualLayout>
                  <c:x val="-3.3711851854255084E-2"/>
                  <c:y val="5.7879253227983831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9924887162627095"/>
                      <c:h val="0.24110181724648944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033B-4562-86B3-74164F23B9CB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033B-4562-86B3-74164F23B9CB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spc="0" baseline="0">
                    <a:solidFill>
                      <a:schemeClr val="accen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Ανθρώπινο Δυναμικό'!$A$2:$A$8</c:f>
              <c:strCache>
                <c:ptCount val="7"/>
                <c:pt idx="0">
                  <c:v>Οριζόντιες - Συστημικές Παρεμβάσεις</c:v>
                </c:pt>
                <c:pt idx="1">
                  <c:v>Απασχόληση &amp; Αγορά Εργασίας</c:v>
                </c:pt>
                <c:pt idx="2">
                  <c:v>Εκπαίδευση &amp; Διά Βίου Μάθηση</c:v>
                </c:pt>
                <c:pt idx="3">
                  <c:v>Κοινωνική Καινοτομία</c:v>
                </c:pt>
                <c:pt idx="4">
                  <c:v>Απασχόληση των Νέων</c:v>
                </c:pt>
                <c:pt idx="5">
                  <c:v>Επισιτιστική Βοήθεια &amp; Αντιμετώπιση της Υλικής Στέρησης</c:v>
                </c:pt>
                <c:pt idx="6">
                  <c:v>Τεχνική Βοήθεια</c:v>
                </c:pt>
              </c:strCache>
            </c:strRef>
          </c:cat>
          <c:val>
            <c:numRef>
              <c:f>'Ανθρώπινο Δυναμικό'!$B$2:$B$8</c:f>
              <c:numCache>
                <c:formatCode>#,##0</c:formatCode>
                <c:ptCount val="7"/>
                <c:pt idx="0" formatCode="General">
                  <c:v>165</c:v>
                </c:pt>
                <c:pt idx="1">
                  <c:v>1355</c:v>
                </c:pt>
                <c:pt idx="2">
                  <c:v>1223</c:v>
                </c:pt>
                <c:pt idx="3" formatCode="General">
                  <c:v>25</c:v>
                </c:pt>
                <c:pt idx="4" formatCode="General">
                  <c:v>939</c:v>
                </c:pt>
                <c:pt idx="5" formatCode="General">
                  <c:v>400</c:v>
                </c:pt>
                <c:pt idx="6" formatCode="General">
                  <c:v>54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E-033B-4562-86B3-74164F23B9CB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/>
      </a:pPr>
      <a:endParaRPr lang="el-GR"/>
    </a:p>
  </c:txPr>
  <c:externalData r:id="rId4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4609-4F12-8C54-0575B20C5A30}"/>
              </c:ext>
            </c:extLst>
          </c:dPt>
          <c:dPt>
            <c:idx val="1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4609-4F12-8C54-0575B20C5A30}"/>
              </c:ext>
            </c:extLst>
          </c:dPt>
          <c:dPt>
            <c:idx val="2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4609-4F12-8C54-0575B20C5A30}"/>
              </c:ext>
            </c:extLst>
          </c:dPt>
          <c:dPt>
            <c:idx val="3"/>
            <c:bubble3D val="0"/>
            <c:spPr>
              <a:solidFill>
                <a:schemeClr val="accent6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4609-4F12-8C54-0575B20C5A30}"/>
              </c:ext>
            </c:extLst>
          </c:dPt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800" b="1" i="0" u="none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1-4609-4F12-8C54-0575B20C5A30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800" b="1" i="0" u="none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4609-4F12-8C54-0575B20C5A30}"/>
                </c:ext>
              </c:extLst>
            </c:dLbl>
            <c:dLbl>
              <c:idx val="2"/>
              <c:layout>
                <c:manualLayout>
                  <c:x val="-8.4415090123584873E-3"/>
                  <c:y val="5.9198443601879574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800" b="1" i="0" u="none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95773662133529"/>
                      <c:h val="0.1981798136148842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609-4F12-8C54-0575B20C5A30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800" b="1" i="0" u="none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4609-4F12-8C54-0575B20C5A30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Ψηφ Μετ'!$E$1:$E$4</c:f>
              <c:strCache>
                <c:ptCount val="4"/>
                <c:pt idx="0">
                  <c:v>Ψηφιακός Μετασχηματισμός του Δημόσιου Τομέα</c:v>
                </c:pt>
                <c:pt idx="1">
                  <c:v>Ενίσχυση της συνδεσιμότητας με ευρυζωνική πρόσβαση υψηλών ταχυτήτων  </c:v>
                </c:pt>
                <c:pt idx="2">
                  <c:v>Ανάπτυξη ψηφιακών δεξιοτήτων</c:v>
                </c:pt>
                <c:pt idx="3">
                  <c:v>Τεχνική Βοήθεια</c:v>
                </c:pt>
              </c:strCache>
            </c:strRef>
          </c:cat>
          <c:val>
            <c:numRef>
              <c:f>'Ψηφ Μετ'!$F$1:$F$4</c:f>
              <c:numCache>
                <c:formatCode>0</c:formatCode>
                <c:ptCount val="4"/>
                <c:pt idx="0">
                  <c:v>513.52978700000006</c:v>
                </c:pt>
                <c:pt idx="1">
                  <c:v>303</c:v>
                </c:pt>
                <c:pt idx="2">
                  <c:v>113.05091299999999</c:v>
                </c:pt>
                <c:pt idx="3">
                  <c:v>13.423603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8-4609-4F12-8C54-0575B20C5A30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solidFill>
      <a:schemeClr val="bg1"/>
    </a:solidFill>
    <a:ln w="9525" cap="flat" cmpd="sng" algn="ctr">
      <a:solidFill>
        <a:schemeClr val="tx1">
          <a:lumMod val="15000"/>
          <a:lumOff val="85000"/>
        </a:schemeClr>
      </a:solidFill>
      <a:round/>
    </a:ln>
    <a:effectLst/>
  </c:spPr>
  <c:txPr>
    <a:bodyPr/>
    <a:lstStyle/>
    <a:p>
      <a:pPr>
        <a:defRPr sz="2800">
          <a:latin typeface="Arial" panose="020B0604020202020204" pitchFamily="34" charset="0"/>
          <a:cs typeface="Arial" panose="020B0604020202020204" pitchFamily="34" charset="0"/>
        </a:defRPr>
      </a:pPr>
      <a:endParaRPr lang="el-GR"/>
    </a:p>
  </c:txPr>
  <c:externalData r:id="rId4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89B3-459A-B99B-2AEC52BAA7A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89B3-459A-B99B-2AEC52BAA7A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89B3-459A-B99B-2AEC52BAA7A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89B3-459A-B99B-2AEC52BAA7A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89B3-459A-B99B-2AEC52BAA7A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B-89B3-459A-B99B-2AEC52BAA7A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D-89B3-459A-B99B-2AEC52BAA7A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F-89B3-459A-B99B-2AEC52BAA7A0}"/>
              </c:ext>
            </c:extLst>
          </c:dPt>
          <c:dLbls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89B3-459A-B99B-2AEC52BAA7A0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89B3-459A-B99B-2AEC52BAA7A0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89B3-459A-B99B-2AEC52BAA7A0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89B3-459A-B99B-2AEC52BAA7A0}"/>
                </c:ext>
              </c:extLst>
            </c:dLbl>
            <c:dLbl>
              <c:idx val="5"/>
              <c:layout>
                <c:manualLayout>
                  <c:x val="-3.5670920433087255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400" b="1" i="0" u="none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B-89B3-459A-B99B-2AEC52BAA7A0}"/>
                </c:ext>
              </c:extLst>
            </c:dLbl>
            <c:dLbl>
              <c:idx val="6"/>
              <c:layout>
                <c:manualLayout>
                  <c:x val="5.0792319407264343E-2"/>
                  <c:y val="2.8402191128407903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400" b="1" i="0" u="none" strike="noStrike" kern="1200" spc="0" baseline="0">
                        <a:solidFill>
                          <a:schemeClr val="accen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B3CAC724-8497-4DAD-AAA9-226D789B9C4B}" type="CATEGORYNAME">
                      <a:rPr lang="el-GR" sz="2000" dirty="0"/>
                      <a:pPr>
                        <a:defRPr sz="2400" b="1" i="0" u="none" strike="noStrike" kern="1200" spc="0" baseline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ΟΝΟΜΑ ΚΑΤΗΓΟΡΙΑΣ]</a:t>
                    </a:fld>
                    <a:r>
                      <a:rPr lang="el-GR" baseline="0" dirty="0"/>
                      <a:t>
</a:t>
                    </a:r>
                    <a:fld id="{FFAB51A3-6516-45D5-838F-1E67D4892970}" type="PERCENTAGE">
                      <a:rPr lang="el-GR" sz="2000" baseline="0" dirty="0"/>
                      <a:pPr>
                        <a:defRPr sz="2400" b="1" i="0" u="none" strike="noStrike" kern="1200" spc="0" baseline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ΠΟΣΟΣΤΟ]</a:t>
                    </a:fld>
                    <a:endParaRPr lang="el-GR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287267777240047"/>
                      <c:h val="8.8316613313784278E-2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D-89B3-459A-B99B-2AEC52BAA7A0}"/>
                </c:ext>
              </c:extLst>
            </c:dLbl>
            <c:dLbl>
              <c:idx val="7"/>
              <c:layout>
                <c:manualLayout>
                  <c:x val="0.13415370954980513"/>
                  <c:y val="1.4201095564203936E-3"/>
                </c:manualLayout>
              </c:layout>
              <c:tx>
                <c:rich>
                  <a:bodyPr rot="0" spcFirstLastPara="1" vertOverflow="ellipsis" vert="horz" wrap="square" lIns="38100" tIns="19050" rIns="38100" bIns="19050" anchor="ctr" anchorCtr="1">
                    <a:noAutofit/>
                  </a:bodyPr>
                  <a:lstStyle/>
                  <a:p>
                    <a:pPr>
                      <a:defRPr sz="2400" b="1" i="0" u="none" strike="noStrike" kern="1200" spc="0" baseline="0">
                        <a:solidFill>
                          <a:schemeClr val="accent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defRPr>
                    </a:pPr>
                    <a:fld id="{A4C2DED9-DA58-4CB8-A7EE-874AA6BA5B32}" type="CATEGORYNAME">
                      <a:rPr lang="el-GR" sz="2000" dirty="0"/>
                      <a:pPr>
                        <a:defRPr sz="2400" b="1" i="0" u="none" strike="noStrike" kern="1200" spc="0" baseline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ΟΝΟΜΑ ΚΑΤΗΓΟΡΙΑΣ]</a:t>
                    </a:fld>
                    <a:r>
                      <a:rPr lang="el-GR" baseline="0" dirty="0"/>
                      <a:t>
</a:t>
                    </a:r>
                    <a:fld id="{E3D5FDD2-003E-402C-9EAC-FAF47A78A4E4}" type="PERCENTAGE">
                      <a:rPr lang="el-GR" sz="2000" baseline="0" dirty="0"/>
                      <a:pPr>
                        <a:defRPr sz="2400" b="1" i="0" u="none" strike="noStrike" kern="1200" spc="0" baseline="0">
                          <a:solidFill>
                            <a:schemeClr val="accent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defRPr>
                      </a:pPr>
                      <a:t>[ΠΟΣΟΣΤΟ]</a:t>
                    </a:fld>
                    <a:endParaRPr lang="el-GR" baseline="0" dirty="0"/>
                  </a:p>
                </c:rich>
              </c:tx>
              <c:spPr>
                <a:noFill/>
                <a:ln>
                  <a:noFill/>
                </a:ln>
                <a:effectLst/>
              </c:sp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1884620142554235"/>
                      <c:h val="0.11955902355503294"/>
                    </c:manualLayout>
                  </c15:layout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F-89B3-459A-B99B-2AEC52BAA7A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400" b="1" i="0" u="none" strike="noStrike" kern="1200" spc="0" baseline="0">
                    <a:solidFill>
                      <a:schemeClr val="accen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ΠΕΚΑ!$B$2:$B$9</c:f>
              <c:strCache>
                <c:ptCount val="8"/>
                <c:pt idx="0">
                  <c:v>Ενεργειακή απόδοση - Προώθηση ΑΠΕ - Ενεργειακές Υποδομές</c:v>
                </c:pt>
                <c:pt idx="1">
                  <c:v>Προσαρμογή στην Κλιματική Αλλαγή, </c:v>
                </c:pt>
                <c:pt idx="2">
                  <c:v>Αστική Αναζωογόνησης</c:v>
                </c:pt>
                <c:pt idx="3">
                  <c:v>Ολοκληρωμένη Διαχείριση Αποβλήτων - Μετάβαση στην Κυκλική Οικονομία </c:v>
                </c:pt>
                <c:pt idx="4">
                  <c:v>Διαχείριση Αστικών Λυμάτων και Υδάτινων Πόρων</c:v>
                </c:pt>
                <c:pt idx="5">
                  <c:v>Προστασία της Βιοποικιλότητας</c:v>
                </c:pt>
                <c:pt idx="6">
                  <c:v>Αστική κινητικότητα</c:v>
                </c:pt>
                <c:pt idx="7">
                  <c:v>Τεχνική Βοήθεια  </c:v>
                </c:pt>
              </c:strCache>
            </c:strRef>
          </c:cat>
          <c:val>
            <c:numRef>
              <c:f>ΠΕΚΑ!$C$2:$C$9</c:f>
              <c:numCache>
                <c:formatCode>0</c:formatCode>
                <c:ptCount val="8"/>
                <c:pt idx="0">
                  <c:v>1296.0688709999999</c:v>
                </c:pt>
                <c:pt idx="1">
                  <c:v>444.05744199999998</c:v>
                </c:pt>
                <c:pt idx="2">
                  <c:v>288.90257700000001</c:v>
                </c:pt>
                <c:pt idx="3">
                  <c:v>795.53420400000005</c:v>
                </c:pt>
                <c:pt idx="4">
                  <c:v>640.94859099999996</c:v>
                </c:pt>
                <c:pt idx="5">
                  <c:v>73.692263999999994</c:v>
                </c:pt>
                <c:pt idx="6">
                  <c:v>32.353636000000002</c:v>
                </c:pt>
                <c:pt idx="7">
                  <c:v>35.288583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0-89B3-459A-B99B-2AEC52BAA7A0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1">
    <c:autoUpdate val="0"/>
  </c:externalData>
</c:chartSpace>
</file>

<file path=ppt/charts/chart7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tx>
            <c:strRef>
              <c:f>Μεταφορές!$B$1</c:f>
              <c:strCache>
                <c:ptCount val="1"/>
                <c:pt idx="0">
                  <c:v>ΔΗΜΟΣΙΑ ΔΑΠΑΝΗ 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1026-4FB1-AF38-3979318B03C0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1026-4FB1-AF38-3979318B03C0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1026-4FB1-AF38-3979318B03C0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1026-4FB1-AF38-3979318B03C0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1026-4FB1-AF38-3979318B03C0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B-1026-4FB1-AF38-3979318B03C0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D-1026-4FB1-AF38-3979318B03C0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F-1026-4FB1-AF38-3979318B03C0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1-1026-4FB1-AF38-3979318B03C0}"/>
              </c:ext>
            </c:extLst>
          </c:dPt>
          <c:dLbls>
            <c:dLbl>
              <c:idx val="1"/>
              <c:layout>
                <c:manualLayout>
                  <c:x val="3.2255255684746444E-2"/>
                  <c:y val="-9.9140578838170221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6822997474042992"/>
                      <c:h val="0.2391037489626458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1026-4FB1-AF38-3979318B03C0}"/>
                </c:ext>
              </c:extLst>
            </c:dLbl>
            <c:dLbl>
              <c:idx val="2"/>
              <c:layout>
                <c:manualLayout>
                  <c:x val="-5.1917226071371052E-2"/>
                  <c:y val="-5.7399594154026139E-8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10531926144855"/>
                      <c:h val="0.286049728941896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1026-4FB1-AF38-3979318B03C0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000745312941727"/>
                      <c:h val="0.2860497289418969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1026-4FB1-AF38-3979318B03C0}"/>
                </c:ext>
              </c:extLst>
            </c:dLbl>
            <c:dLbl>
              <c:idx val="4"/>
              <c:layout>
                <c:manualLayout>
                  <c:x val="0"/>
                  <c:y val="5.83179875518648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9-1026-4FB1-AF38-3979318B03C0}"/>
                </c:ext>
              </c:extLst>
            </c:dLbl>
            <c:dLbl>
              <c:idx val="5"/>
              <c:layout>
                <c:manualLayout>
                  <c:x val="-1.8851267425631493E-2"/>
                  <c:y val="9.330883748257778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2165265022516986"/>
                      <c:h val="0.1921577689833946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B-1026-4FB1-AF38-3979318B03C0}"/>
                </c:ext>
              </c:extLst>
            </c:dLbl>
            <c:dLbl>
              <c:idx val="6"/>
              <c:layout>
                <c:manualLayout>
                  <c:x val="-5.154634882060323E-2"/>
                  <c:y val="1.239264665255058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749706060317068"/>
                      <c:h val="0.1543199565875390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D-1026-4FB1-AF38-3979318B03C0}"/>
                </c:ext>
              </c:extLst>
            </c:dLbl>
            <c:dLbl>
              <c:idx val="7"/>
              <c:layout>
                <c:manualLayout>
                  <c:x val="7.713416444889401E-2"/>
                  <c:y val="-1.6037389177168782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no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8240372201543251"/>
                      <c:h val="0.16008287582986896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F-1026-4FB1-AF38-3979318B03C0}"/>
                </c:ext>
              </c:extLst>
            </c:dLbl>
            <c:dLbl>
              <c:idx val="8"/>
              <c:layout>
                <c:manualLayout>
                  <c:x val="0.14671200732143835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1-1026-4FB1-AF38-3979318B03C0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spc="0" baseline="0">
                    <a:solidFill>
                      <a:schemeClr val="accen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Μεταφορές!$A$2:$A$10</c:f>
              <c:strCache>
                <c:ptCount val="9"/>
                <c:pt idx="0">
                  <c:v>Βιώσιμες Αστικές Μεταφορές  </c:v>
                </c:pt>
                <c:pt idx="1">
                  <c:v>Ανάπτυξη προαστιακού σιδηροδρομικού δικτύου </c:v>
                </c:pt>
                <c:pt idx="2">
                  <c:v>Ολοκλήρωση /αναβάθμιση Κεντρικού Σιδηροδρομικού ΔΕΔ-Μ </c:v>
                </c:pt>
                <c:pt idx="3">
                  <c:v>Κατασκευή κρίσιμων ελλειπόντων τμημάτων οδικού ΔΕΔ-Μ </c:v>
                </c:pt>
                <c:pt idx="4">
                  <c:v>Οδική ασφάλεια </c:v>
                </c:pt>
                <c:pt idx="5">
                  <c:v>Πολυτροπικές συνδέσεις μεταφορών </c:v>
                </c:pt>
                <c:pt idx="6">
                  <c:v>Συνδεσιμότητα και προσβασιμότητα νησιών</c:v>
                </c:pt>
                <c:pt idx="7">
                  <c:v>Ασφάλεια ναυσιπλοΐας και αεροναυτιλίας</c:v>
                </c:pt>
                <c:pt idx="8">
                  <c:v>Τεχνική Βοήθεια</c:v>
                </c:pt>
              </c:strCache>
            </c:strRef>
          </c:cat>
          <c:val>
            <c:numRef>
              <c:f>Μεταφορές!$B$2:$B$10</c:f>
              <c:numCache>
                <c:formatCode>0</c:formatCode>
                <c:ptCount val="9"/>
                <c:pt idx="0">
                  <c:v>757.91551800000002</c:v>
                </c:pt>
                <c:pt idx="1">
                  <c:v>87.1</c:v>
                </c:pt>
                <c:pt idx="2">
                  <c:v>218.679126</c:v>
                </c:pt>
                <c:pt idx="3">
                  <c:v>432.5</c:v>
                </c:pt>
                <c:pt idx="4">
                  <c:v>364.53257000000002</c:v>
                </c:pt>
                <c:pt idx="5">
                  <c:v>61.661065000000001</c:v>
                </c:pt>
                <c:pt idx="6">
                  <c:v>181</c:v>
                </c:pt>
                <c:pt idx="7">
                  <c:v>88.907042000000004</c:v>
                </c:pt>
                <c:pt idx="8">
                  <c:v>31.79596499999999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2-1026-4FB1-AF38-3979318B03C0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2">
    <c:autoUpdate val="0"/>
  </c:externalData>
</c:chartSpace>
</file>

<file path=ppt/charts/chart8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>
        <c:manualLayout>
          <c:layoutTarget val="inner"/>
          <c:xMode val="edge"/>
          <c:yMode val="edge"/>
          <c:x val="8.017750681396843E-2"/>
          <c:y val="0.20839639725885328"/>
          <c:w val="0.8263867828586392"/>
          <c:h val="0.7858414506697301"/>
        </c:manualLayout>
      </c:layout>
      <c:pie3DChart>
        <c:varyColors val="1"/>
        <c:ser>
          <c:idx val="0"/>
          <c:order val="0"/>
          <c:tx>
            <c:strRef>
              <c:f>'Πολιτική Προστασλια'!$B$1</c:f>
              <c:strCache>
                <c:ptCount val="1"/>
                <c:pt idx="0">
                  <c:v>ΔΗΜΟΣΙΑ ΔΑΠΑΝΗ (ΕΥΡΩ)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4C5F-47BD-9B10-C3F168DE46A5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4C5F-47BD-9B10-C3F168DE46A5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4C5F-47BD-9B10-C3F168DE46A5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4C5F-47BD-9B10-C3F168DE46A5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4C5F-47BD-9B10-C3F168DE46A5}"/>
              </c:ext>
            </c:extLst>
          </c:dPt>
          <c:dLbls>
            <c:dLbl>
              <c:idx val="0"/>
              <c:layout>
                <c:manualLayout>
                  <c:x val="0.11352729219973549"/>
                  <c:y val="-2.7755575615628914E-17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5068085695153336"/>
                      <c:h val="0.27761393776297805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4C5F-47BD-9B10-C3F168DE46A5}"/>
                </c:ext>
              </c:extLst>
            </c:dLbl>
            <c:dLbl>
              <c:idx val="1"/>
              <c:layout>
                <c:manualLayout>
                  <c:x val="0.13422894313817196"/>
                  <c:y val="-3.0814351597973074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493536625787206"/>
                      <c:h val="0.35839934901754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3-4C5F-47BD-9B10-C3F168DE46A5}"/>
                </c:ext>
              </c:extLst>
            </c:dLbl>
            <c:dLbl>
              <c:idx val="2"/>
              <c:layout>
                <c:manualLayout>
                  <c:x val="-4.9718263175339755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4095688734963813"/>
                      <c:h val="0.35839934901754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5-4C5F-47BD-9B10-C3F168DE46A5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17429004669079937"/>
                      <c:h val="0.25947331051703643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7-4C5F-47BD-9B10-C3F168DE46A5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4C5F-47BD-9B10-C3F168DE46A5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1" i="0" u="none" strike="noStrike" kern="1200" spc="0" baseline="0">
                    <a:solidFill>
                      <a:schemeClr val="accent1"/>
                    </a:solidFill>
                    <a:latin typeface="Arial" panose="020B0604020202020204" pitchFamily="34" charset="0"/>
                    <a:ea typeface="+mn-ea"/>
                    <a:cs typeface="Arial" panose="020B0604020202020204" pitchFamily="34" charset="0"/>
                  </a:defRPr>
                </a:pPr>
                <a:endParaRPr lang="el-GR"/>
              </a:p>
            </c:tx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'Πολιτική Προστασλια'!$A$2:$A$6</c:f>
              <c:strCache>
                <c:ptCount val="5"/>
                <c:pt idx="0">
                  <c:v> Βάση Δεδομένων Κινδύνων, Απειλών , Απωλειών Καταστροφών</c:v>
                </c:pt>
                <c:pt idx="1">
                  <c:v>Εξοπλισμός, συνοδευτικές ενέργειες πρόληψης και αντιμετώπισης φυσικών καταστροφών  </c:v>
                </c:pt>
                <c:pt idx="2">
                  <c:v>Αντιμετώπιση επιπτώσεων ανθρωπογενών κινδύνων – Προστασία Δημόσιας Υγείας</c:v>
                </c:pt>
                <c:pt idx="3">
                  <c:v>Αναβάθμιση δεξιοτήτων ανθρώπινου δυναμικού </c:v>
                </c:pt>
                <c:pt idx="4">
                  <c:v>Τεχνική Βοήθεια</c:v>
                </c:pt>
              </c:strCache>
            </c:strRef>
          </c:cat>
          <c:val>
            <c:numRef>
              <c:f>'Πολιτική Προστασλια'!$B$2:$B$6</c:f>
              <c:numCache>
                <c:formatCode>0</c:formatCode>
                <c:ptCount val="5"/>
                <c:pt idx="0">
                  <c:v>22.385383999999998</c:v>
                </c:pt>
                <c:pt idx="1">
                  <c:v>590.5</c:v>
                </c:pt>
                <c:pt idx="2">
                  <c:v>28.500001999999999</c:v>
                </c:pt>
                <c:pt idx="3">
                  <c:v>65.918251999999995</c:v>
                </c:pt>
                <c:pt idx="4">
                  <c:v>6.4543049999999997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A-4C5F-47BD-9B10-C3F168DE46A5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/>
      </a:pPr>
      <a:endParaRPr lang="el-GR"/>
    </a:p>
  </c:txPr>
  <c:externalData r:id="rId3">
    <c:autoUpdate val="0"/>
  </c:externalData>
</c:chartSpace>
</file>

<file path=ppt/charts/chart9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l-GR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view3D>
      <c:rotX val="30"/>
      <c:rotY val="0"/>
      <c:depthPercent val="100"/>
      <c:rAngAx val="0"/>
    </c:view3D>
    <c:floor>
      <c:thickness val="0"/>
      <c:spPr>
        <a:noFill/>
        <a:ln>
          <a:noFill/>
        </a:ln>
        <a:effectLst/>
        <a:sp3d/>
      </c:spPr>
    </c:floor>
    <c:sideWall>
      <c:thickness val="0"/>
      <c:spPr>
        <a:noFill/>
        <a:ln>
          <a:noFill/>
        </a:ln>
        <a:effectLst/>
        <a:sp3d/>
      </c:spPr>
    </c:sideWall>
    <c:backWall>
      <c:thickness val="0"/>
      <c:spPr>
        <a:noFill/>
        <a:ln>
          <a:noFill/>
        </a:ln>
        <a:effectLst/>
        <a:sp3d/>
      </c:spPr>
    </c:backWall>
    <c:plotArea>
      <c:layout/>
      <c:pie3DChart>
        <c:varyColors val="1"/>
        <c:ser>
          <c:idx val="0"/>
          <c:order val="0"/>
          <c:dPt>
            <c:idx val="0"/>
            <c:bubble3D val="0"/>
            <c:spPr>
              <a:solidFill>
                <a:schemeClr val="accent1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1-3A6D-492A-8D6B-580FB4F1250E}"/>
              </c:ext>
            </c:extLst>
          </c:dPt>
          <c:dPt>
            <c:idx val="1"/>
            <c:bubble3D val="0"/>
            <c:spPr>
              <a:solidFill>
                <a:schemeClr val="accent2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3-3A6D-492A-8D6B-580FB4F1250E}"/>
              </c:ext>
            </c:extLst>
          </c:dPt>
          <c:dPt>
            <c:idx val="2"/>
            <c:bubble3D val="0"/>
            <c:spPr>
              <a:solidFill>
                <a:schemeClr val="accent3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5-3A6D-492A-8D6B-580FB4F1250E}"/>
              </c:ext>
            </c:extLst>
          </c:dPt>
          <c:dPt>
            <c:idx val="3"/>
            <c:bubble3D val="0"/>
            <c:spPr>
              <a:solidFill>
                <a:schemeClr val="accent4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7-3A6D-492A-8D6B-580FB4F1250E}"/>
              </c:ext>
            </c:extLst>
          </c:dPt>
          <c:dPt>
            <c:idx val="4"/>
            <c:bubble3D val="0"/>
            <c:spPr>
              <a:solidFill>
                <a:schemeClr val="accent5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9-3A6D-492A-8D6B-580FB4F1250E}"/>
              </c:ext>
            </c:extLst>
          </c:dPt>
          <c:dPt>
            <c:idx val="5"/>
            <c:bubble3D val="0"/>
            <c:spPr>
              <a:solidFill>
                <a:schemeClr val="accent6"/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B-3A6D-492A-8D6B-580FB4F1250E}"/>
              </c:ext>
            </c:extLst>
          </c:dPt>
          <c:dPt>
            <c:idx val="6"/>
            <c:bubble3D val="0"/>
            <c:spPr>
              <a:solidFill>
                <a:schemeClr val="accent1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D-3A6D-492A-8D6B-580FB4F1250E}"/>
              </c:ext>
            </c:extLst>
          </c:dPt>
          <c:dPt>
            <c:idx val="7"/>
            <c:bubble3D val="0"/>
            <c:spPr>
              <a:solidFill>
                <a:schemeClr val="accent2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0F-3A6D-492A-8D6B-580FB4F1250E}"/>
              </c:ext>
            </c:extLst>
          </c:dPt>
          <c:dPt>
            <c:idx val="8"/>
            <c:bubble3D val="0"/>
            <c:spPr>
              <a:solidFill>
                <a:schemeClr val="accent3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1-3A6D-492A-8D6B-580FB4F1250E}"/>
              </c:ext>
            </c:extLst>
          </c:dPt>
          <c:dPt>
            <c:idx val="9"/>
            <c:bubble3D val="0"/>
            <c:spPr>
              <a:solidFill>
                <a:schemeClr val="accent4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3-3A6D-492A-8D6B-580FB4F1250E}"/>
              </c:ext>
            </c:extLst>
          </c:dPt>
          <c:dPt>
            <c:idx val="10"/>
            <c:bubble3D val="0"/>
            <c:spPr>
              <a:solidFill>
                <a:schemeClr val="accent5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5-3A6D-492A-8D6B-580FB4F1250E}"/>
              </c:ext>
            </c:extLst>
          </c:dPt>
          <c:dPt>
            <c:idx val="11"/>
            <c:bubble3D val="0"/>
            <c:spPr>
              <a:solidFill>
                <a:schemeClr val="accent6">
                  <a:lumMod val="6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7-3A6D-492A-8D6B-580FB4F1250E}"/>
              </c:ext>
            </c:extLst>
          </c:dPt>
          <c:dPt>
            <c:idx val="12"/>
            <c:bubble3D val="0"/>
            <c:spPr>
              <a:solidFill>
                <a:schemeClr val="accent1">
                  <a:lumMod val="80000"/>
                  <a:lumOff val="20000"/>
                </a:schemeClr>
              </a:solidFill>
              <a:ln>
                <a:noFill/>
              </a:ln>
              <a:effectLst>
                <a:outerShdw blurRad="88900" sx="102000" sy="102000" algn="ctr" rotWithShape="0">
                  <a:prstClr val="black">
                    <a:alpha val="10000"/>
                  </a:prstClr>
                </a:outerShdw>
              </a:effectLst>
              <a:scene3d>
                <a:camera prst="orthographicFront"/>
                <a:lightRig rig="threePt" dir="t"/>
              </a:scene3d>
              <a:sp3d>
                <a:bevelT w="127000" h="127000"/>
                <a:bevelB w="127000" h="127000"/>
              </a:sp3d>
            </c:spPr>
            <c:extLst>
              <c:ext xmlns:c16="http://schemas.microsoft.com/office/drawing/2014/chart" uri="{C3380CC4-5D6E-409C-BE32-E72D297353CC}">
                <c16:uniqueId val="{00000019-3A6D-492A-8D6B-580FB4F1250E}"/>
              </c:ext>
            </c:extLst>
          </c:dPt>
          <c:dLbls>
            <c:dLbl>
              <c:idx val="0"/>
              <c:layout>
                <c:manualLayout>
                  <c:x val="2.7658339596665603E-2"/>
                  <c:y val="0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1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>
                  <c15:layout>
                    <c:manualLayout>
                      <c:w val="0.23189390187219819"/>
                      <c:h val="0.17763997361417352"/>
                    </c:manualLayout>
                  </c15:layout>
                </c:ext>
                <c:ext xmlns:c16="http://schemas.microsoft.com/office/drawing/2014/chart" uri="{C3380CC4-5D6E-409C-BE32-E72D297353CC}">
                  <c16:uniqueId val="{00000001-3A6D-492A-8D6B-580FB4F1250E}"/>
                </c:ext>
              </c:extLst>
            </c:dLbl>
            <c:dLbl>
              <c:idx val="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2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3-3A6D-492A-8D6B-580FB4F1250E}"/>
                </c:ext>
              </c:extLst>
            </c:dLbl>
            <c:dLbl>
              <c:idx val="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3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5-3A6D-492A-8D6B-580FB4F1250E}"/>
                </c:ext>
              </c:extLst>
            </c:dLbl>
            <c:dLbl>
              <c:idx val="3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4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7-3A6D-492A-8D6B-580FB4F1250E}"/>
                </c:ext>
              </c:extLst>
            </c:dLbl>
            <c:dLbl>
              <c:idx val="4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5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9-3A6D-492A-8D6B-580FB4F1250E}"/>
                </c:ext>
              </c:extLst>
            </c:dLbl>
            <c:dLbl>
              <c:idx val="5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6"/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B-3A6D-492A-8D6B-580FB4F1250E}"/>
                </c:ext>
              </c:extLst>
            </c:dLbl>
            <c:dLbl>
              <c:idx val="6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1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D-3A6D-492A-8D6B-580FB4F1250E}"/>
                </c:ext>
              </c:extLst>
            </c:dLbl>
            <c:dLbl>
              <c:idx val="7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2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0F-3A6D-492A-8D6B-580FB4F1250E}"/>
                </c:ext>
              </c:extLst>
            </c:dLbl>
            <c:dLbl>
              <c:idx val="8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3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1-3A6D-492A-8D6B-580FB4F1250E}"/>
                </c:ext>
              </c:extLst>
            </c:dLbl>
            <c:dLbl>
              <c:idx val="9"/>
              <c:layout>
                <c:manualLayout>
                  <c:x val="0"/>
                  <c:y val="-6.4237422104261019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4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3-3A6D-492A-8D6B-580FB4F1250E}"/>
                </c:ext>
              </c:extLst>
            </c:dLbl>
            <c:dLbl>
              <c:idx val="10"/>
              <c:layout>
                <c:manualLayout>
                  <c:x val="0"/>
                  <c:y val="-8.3038618817703275E-2"/>
                </c:manualLayout>
              </c:layout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5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bestFit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15-3A6D-492A-8D6B-580FB4F1250E}"/>
                </c:ext>
              </c:extLst>
            </c:dLbl>
            <c:dLbl>
              <c:idx val="11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6">
                          <a:lumMod val="6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7-3A6D-492A-8D6B-580FB4F1250E}"/>
                </c:ext>
              </c:extLst>
            </c:dLbl>
            <c:dLbl>
              <c:idx val="12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anchor="ctr" anchorCtr="1"/>
                <a:lstStyle/>
                <a:p>
                  <a:pPr>
                    <a:defRPr sz="2400" b="1" i="0" u="none" strike="noStrike" kern="1200" spc="0" baseline="0">
                      <a:solidFill>
                        <a:schemeClr val="accent1">
                          <a:lumMod val="80000"/>
                          <a:lumOff val="20000"/>
                        </a:schemeClr>
                      </a:solidFill>
                      <a:latin typeface="Arial" panose="020B0604020202020204" pitchFamily="34" charset="0"/>
                      <a:ea typeface="+mn-ea"/>
                      <a:cs typeface="Arial" panose="020B0604020202020204" pitchFamily="34" charset="0"/>
                    </a:defRPr>
                  </a:pPr>
                  <a:endParaRPr lang="el-GR"/>
                </a:p>
              </c:txPr>
              <c:dLblPos val="outEnd"/>
              <c:showLegendKey val="0"/>
              <c:showVal val="0"/>
              <c:showCatName val="1"/>
              <c:showSerName val="0"/>
              <c:showPercent val="1"/>
              <c:showBubbleSize val="0"/>
              <c:extLst>
                <c:ext xmlns:c16="http://schemas.microsoft.com/office/drawing/2014/chart" uri="{C3380CC4-5D6E-409C-BE32-E72D297353CC}">
                  <c16:uniqueId val="{00000019-3A6D-492A-8D6B-580FB4F1250E}"/>
                </c:ext>
              </c:extLst>
            </c:dLbl>
            <c:spPr>
              <a:noFill/>
              <a:ln>
                <a:noFill/>
              </a:ln>
              <a:effectLst/>
            </c:spPr>
            <c:dLblPos val="outEnd"/>
            <c:showLegendKey val="0"/>
            <c:showVal val="0"/>
            <c:showCatName val="1"/>
            <c:showSerName val="0"/>
            <c:showPercent val="1"/>
            <c:showBubbleSize val="0"/>
            <c:showLeaderLines val="1"/>
            <c:leaderLines>
              <c:spPr>
                <a:ln w="9525" cap="flat" cmpd="sng" algn="ctr">
                  <a:solidFill>
                    <a:schemeClr val="tx1">
                      <a:lumMod val="35000"/>
                      <a:lumOff val="65000"/>
                    </a:schemeClr>
                  </a:solidFill>
                  <a:round/>
                </a:ln>
                <a:effectLst/>
              </c:spPr>
            </c:leaderLines>
            <c:extLst>
              <c:ext xmlns:c15="http://schemas.microsoft.com/office/drawing/2012/chart" uri="{CE6537A1-D6FC-4f65-9D91-7224C49458BB}"/>
            </c:extLst>
          </c:dLbls>
          <c:cat>
            <c:strRef>
              <c:f>Sheet1!$A$1:$A$13</c:f>
              <c:strCache>
                <c:ptCount val="13"/>
                <c:pt idx="0">
                  <c:v> Ανατολικής Μακεδονίας &amp; Θράκης</c:v>
                </c:pt>
                <c:pt idx="1">
                  <c:v> Κεντρικής Μακεδονίας</c:v>
                </c:pt>
                <c:pt idx="2">
                  <c:v> Θεσσαλίας</c:v>
                </c:pt>
                <c:pt idx="3">
                  <c:v> Ηπείρου</c:v>
                </c:pt>
                <c:pt idx="4">
                  <c:v> Δυτικής Ελλάδας</c:v>
                </c:pt>
                <c:pt idx="5">
                  <c:v> Δυτικής Μακεδονίας</c:v>
                </c:pt>
                <c:pt idx="6">
                  <c:v> Στερεάς Ελλάδας</c:v>
                </c:pt>
                <c:pt idx="7">
                  <c:v> Πελοπoννήσου</c:v>
                </c:pt>
                <c:pt idx="8">
                  <c:v> Ιονίων Νήσων</c:v>
                </c:pt>
                <c:pt idx="9">
                  <c:v> Βορείου Αιγαίου</c:v>
                </c:pt>
                <c:pt idx="10">
                  <c:v> Κρήτης</c:v>
                </c:pt>
                <c:pt idx="11">
                  <c:v> Αττικής</c:v>
                </c:pt>
                <c:pt idx="12">
                  <c:v> Νοτίου Αιγαίου</c:v>
                </c:pt>
              </c:strCache>
            </c:strRef>
          </c:cat>
          <c:val>
            <c:numRef>
              <c:f>Sheet1!$B$1:$B$13</c:f>
              <c:numCache>
                <c:formatCode>#,##0.00</c:formatCode>
                <c:ptCount val="13"/>
                <c:pt idx="0" formatCode="General">
                  <c:v>639.1</c:v>
                </c:pt>
                <c:pt idx="1">
                  <c:v>1440.1</c:v>
                </c:pt>
                <c:pt idx="2" formatCode="General">
                  <c:v>553.9</c:v>
                </c:pt>
                <c:pt idx="3" formatCode="General">
                  <c:v>426</c:v>
                </c:pt>
                <c:pt idx="4" formatCode="General">
                  <c:v>628.4</c:v>
                </c:pt>
                <c:pt idx="5" formatCode="General">
                  <c:v>394.1</c:v>
                </c:pt>
                <c:pt idx="6" formatCode="General">
                  <c:v>426</c:v>
                </c:pt>
                <c:pt idx="7" formatCode="General">
                  <c:v>410.1</c:v>
                </c:pt>
                <c:pt idx="8" formatCode="General">
                  <c:v>287.60000000000002</c:v>
                </c:pt>
                <c:pt idx="9" formatCode="General">
                  <c:v>394</c:v>
                </c:pt>
                <c:pt idx="10" formatCode="General">
                  <c:v>564.5</c:v>
                </c:pt>
                <c:pt idx="11">
                  <c:v>1617</c:v>
                </c:pt>
                <c:pt idx="12" formatCode="General">
                  <c:v>285.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1A-3A6D-492A-8D6B-580FB4F1250E}"/>
            </c:ext>
          </c:extLst>
        </c:ser>
        <c:dLbls>
          <c:dLblPos val="outEnd"/>
          <c:showLegendKey val="0"/>
          <c:showVal val="0"/>
          <c:showCatName val="1"/>
          <c:showSerName val="0"/>
          <c:showPercent val="0"/>
          <c:showBubbleSize val="0"/>
          <c:showLeaderLines val="1"/>
        </c:dLbls>
      </c:pie3DChart>
      <c:spPr>
        <a:noFill/>
        <a:ln>
          <a:noFill/>
        </a:ln>
        <a:effectLst/>
      </c:spPr>
    </c:plotArea>
    <c:plotVisOnly val="1"/>
    <c:dispBlanksAs val="gap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  <c:showDLblsOverMax val="0"/>
  </c:chart>
  <c:spPr>
    <a:noFill/>
    <a:ln>
      <a:noFill/>
    </a:ln>
    <a:effectLst/>
  </c:spPr>
  <c:txPr>
    <a:bodyPr/>
    <a:lstStyle/>
    <a:p>
      <a:pPr>
        <a:defRPr sz="2400">
          <a:latin typeface="Arial" panose="020B0604020202020204" pitchFamily="34" charset="0"/>
          <a:cs typeface="Arial" panose="020B0604020202020204" pitchFamily="34" charset="0"/>
        </a:defRPr>
      </a:pPr>
      <a:endParaRPr lang="el-GR"/>
    </a:p>
  </c:txPr>
  <c:externalData r:id="rId4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3">
  <a:schemeClr val="accent6"/>
  <a:schemeClr val="accent5"/>
  <a:schemeClr val="accent4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62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9">
  <cs:axisTitle>
    <cs:lnRef idx="0"/>
    <cs:fillRef idx="0"/>
    <cs:effectRef idx="0"/>
    <cs:fontRef idx="minor">
      <a:schemeClr val="tx1">
        <a:lumMod val="65000"/>
        <a:lumOff val="35000"/>
      </a:schemeClr>
    </cs:fontRef>
    <cs:defRPr sz="900" kern="1200" cap="all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cs:styleClr val="auto"/>
    </cs:fontRef>
    <cs:defRPr sz="1000" b="1" i="0" u="none" strike="noStrike" kern="1200" spc="0" baseline="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1000" b="1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63500" sx="102000" sy="102000" algn="ctr" rotWithShape="0">
          <a:prstClr val="black">
            <a:alpha val="20000"/>
          </a:prstClr>
        </a:outerShdw>
      </a:effectLst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effectLst>
        <a:outerShdw blurRad="88900" sx="102000" sy="102000" algn="ctr" rotWithShape="0">
          <a:prstClr val="black">
            <a:alpha val="10000"/>
          </a:prstClr>
        </a:outerShdw>
      </a:effectLst>
      <a:scene3d>
        <a:camera prst="orthographicFront"/>
        <a:lightRig rig="threePt" dir="t"/>
      </a:scene3d>
      <a:sp3d>
        <a:bevelT w="127000" h="127000"/>
        <a:bevelB w="127000" h="127000"/>
      </a:sp3d>
    </cs:spPr>
  </cs:dataPoint3D>
  <cs:dataPointLine>
    <cs:lnRef idx="0">
      <cs:styleClr val="auto"/>
    </cs:lnRef>
    <cs:fillRef idx="0"/>
    <cs:effectRef idx="0"/>
    <cs:fontRef idx="minor">
      <a:schemeClr val="dk1"/>
    </cs:fontRef>
    <cs:spPr>
      <a:ln w="28575" cap="rnd">
        <a:solidFill>
          <a:schemeClr val="phClr"/>
        </a:solidFill>
        <a:round/>
      </a:ln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9525">
        <a:solidFill>
          <a:schemeClr val="lt1"/>
        </a:solidFill>
      </a:ln>
    </cs:spPr>
  </cs:dataPointMarker>
  <cs:dataPointMarkerLayout symbol="circle" size="6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dk1"/>
    </cs:fontRef>
  </cs:plotArea>
  <cs:plotArea3D mods="allowNoFillOverride allowNoLineOverride">
    <cs:lnRef idx="0"/>
    <cs:fillRef idx="0"/>
    <cs:effectRef idx="0"/>
    <cs:fontRef idx="minor">
      <a:schemeClr val="dk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600" b="1" kern="1200" cap="all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ash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κεφαλίδας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3" name="Θέση ημερομηνίας 2"/>
          <p:cNvSpPr>
            <a:spLocks noGrp="1"/>
          </p:cNvSpPr>
          <p:nvPr>
            <p:ph type="dt" sz="quarter" idx="1"/>
          </p:nvPr>
        </p:nvSpPr>
        <p:spPr>
          <a:xfrm>
            <a:off x="3849688" y="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4E7C497-80E5-4884-BE41-3AE6FA87E963}" type="datetimeFigureOut">
              <a:rPr lang="el-GR" smtClean="0"/>
              <a:t>16/6/2022</a:t>
            </a:fld>
            <a:endParaRPr lang="el-GR"/>
          </a:p>
        </p:txBody>
      </p:sp>
      <p:sp>
        <p:nvSpPr>
          <p:cNvPr id="4" name="Θέση υποσέλιδου 3"/>
          <p:cNvSpPr>
            <a:spLocks noGrp="1"/>
          </p:cNvSpPr>
          <p:nvPr>
            <p:ph type="ftr" sz="quarter" idx="2"/>
          </p:nvPr>
        </p:nvSpPr>
        <p:spPr>
          <a:xfrm>
            <a:off x="0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l-GR"/>
          </a:p>
        </p:txBody>
      </p:sp>
      <p:sp>
        <p:nvSpPr>
          <p:cNvPr id="5" name="Θέση αριθμού διαφάνειας 4"/>
          <p:cNvSpPr>
            <a:spLocks noGrp="1"/>
          </p:cNvSpPr>
          <p:nvPr>
            <p:ph type="sldNum" sz="quarter" idx="3"/>
          </p:nvPr>
        </p:nvSpPr>
        <p:spPr>
          <a:xfrm>
            <a:off x="3849688" y="9429750"/>
            <a:ext cx="2946400" cy="496888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564D3F2-82BB-4146-9FE3-B419306DF497}" type="slidenum">
              <a:rPr lang="el-GR" smtClean="0"/>
              <a:t>‹#›</a:t>
            </a:fld>
            <a:endParaRPr lang="el-GR"/>
          </a:p>
        </p:txBody>
      </p:sp>
    </p:spTree>
    <p:extLst>
      <p:ext uri="{BB962C8B-B14F-4D97-AF65-F5344CB8AC3E}">
        <p14:creationId xmlns:p14="http://schemas.microsoft.com/office/powerpoint/2010/main" val="1885385401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6" name="Shape 116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  <a:prstGeom prst="rect">
            <a:avLst/>
          </a:prstGeom>
        </p:spPr>
        <p:txBody>
          <a:bodyPr/>
          <a:lstStyle/>
          <a:p>
            <a:endParaRPr/>
          </a:p>
        </p:txBody>
      </p:sp>
      <p:sp>
        <p:nvSpPr>
          <p:cNvPr id="117" name="Shape 117"/>
          <p:cNvSpPr>
            <a:spLocks noGrp="1"/>
          </p:cNvSpPr>
          <p:nvPr>
            <p:ph type="body" sz="quarter" idx="1"/>
          </p:nvPr>
        </p:nvSpPr>
        <p:spPr>
          <a:xfrm>
            <a:off x="906357" y="4715153"/>
            <a:ext cx="4984962" cy="4466987"/>
          </a:xfrm>
          <a:prstGeom prst="rect">
            <a:avLst/>
          </a:prstGeom>
        </p:spPr>
        <p:txBody>
          <a:bodyPr/>
          <a:lstStyle/>
          <a:p>
            <a:endParaRPr dirty="0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defTabSz="457189" latinLnBrk="0">
      <a:lnSpc>
        <a:spcPct val="117999"/>
      </a:lnSpc>
      <a:defRPr sz="1400">
        <a:latin typeface="Arial" panose="020B0604020202020204" pitchFamily="34" charset="0"/>
        <a:ea typeface="Arial" panose="020B0604020202020204" pitchFamily="34" charset="0"/>
        <a:cs typeface="Arial" panose="020B0604020202020204" pitchFamily="34" charset="0"/>
        <a:sym typeface="Helvetica Neue"/>
      </a:defRPr>
    </a:lvl1pPr>
    <a:lvl2pPr indent="228594" defTabSz="457189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2pPr>
    <a:lvl3pPr indent="457189" defTabSz="457189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3pPr>
    <a:lvl4pPr indent="685783" defTabSz="457189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4pPr>
    <a:lvl5pPr indent="914377" defTabSz="457189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5pPr>
    <a:lvl6pPr indent="1142971" defTabSz="457189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6pPr>
    <a:lvl7pPr indent="1371566" defTabSz="457189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7pPr>
    <a:lvl8pPr indent="1600160" defTabSz="457189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8pPr>
    <a:lvl9pPr indent="1828754" defTabSz="457189" latinLnBrk="0">
      <a:lnSpc>
        <a:spcPct val="117999"/>
      </a:lnSpc>
      <a:defRPr sz="2200">
        <a:latin typeface="Helvetica Neue"/>
        <a:ea typeface="Helvetica Neue"/>
        <a:cs typeface="Helvetica Neue"/>
        <a:sym typeface="Helvetica Neue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2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2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2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2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2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2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sz="1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425214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457189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44923723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457189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6199688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457189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352228427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457189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714745745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457189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40639522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8406802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476741990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457189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59340726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868746008"/>
      </p:ext>
    </p:extLst>
  </p:cSld>
  <p:clrMapOvr>
    <a:masterClrMapping/>
  </p:clrMapOvr>
</p:notes>
</file>

<file path=ppt/notesSlides/notesSlide1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930625821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>
          <a:xfrm>
            <a:off x="468630" y="4715153"/>
            <a:ext cx="5863589" cy="4466987"/>
          </a:xfrm>
        </p:spPr>
        <p:txBody>
          <a:bodyPr/>
          <a:lstStyle/>
          <a:p>
            <a:pPr algn="just" defTabSz="457189" latinLnBrk="0">
              <a:lnSpc>
                <a:spcPct val="117999"/>
              </a:lnSpc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00913525"/>
      </p:ext>
    </p:extLst>
  </p:cSld>
  <p:clrMapOvr>
    <a:masterClrMapping/>
  </p:clrMapOvr>
</p:notes>
</file>

<file path=ppt/notesSlides/notesSlide2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973967163"/>
      </p:ext>
    </p:extLst>
  </p:cSld>
  <p:clrMapOvr>
    <a:masterClrMapping/>
  </p:clrMapOvr>
</p:notes>
</file>

<file path=ppt/notesSlides/notesSlide2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457189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291601275"/>
      </p:ext>
    </p:extLst>
  </p:cSld>
  <p:clrMapOvr>
    <a:masterClrMapping/>
  </p:clrMapOvr>
</p:notes>
</file>

<file path=ppt/notesSlides/notesSlide2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algn="just" defTabSz="457189" latinLnBrk="0">
              <a:lnSpc>
                <a:spcPct val="117999"/>
              </a:lnSpc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635088022"/>
      </p:ext>
    </p:extLst>
  </p:cSld>
  <p:clrMapOvr>
    <a:masterClrMapping/>
  </p:clrMapOvr>
</p:notes>
</file>

<file path=ppt/notesSlides/notesSlide2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457189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027776836"/>
      </p:ext>
    </p:extLst>
  </p:cSld>
  <p:clrMapOvr>
    <a:masterClrMapping/>
  </p:clrMapOvr>
</p:notes>
</file>

<file path=ppt/notesSlides/notesSlide2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545408971"/>
      </p:ext>
    </p:extLst>
  </p:cSld>
  <p:clrMapOvr>
    <a:masterClrMapping/>
  </p:clrMapOvr>
</p:notes>
</file>

<file path=ppt/notesSlides/notesSlide2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103780330"/>
      </p:ext>
    </p:extLst>
  </p:cSld>
  <p:clrMapOvr>
    <a:masterClrMapping/>
  </p:clrMapOvr>
</p:notes>
</file>

<file path=ppt/notesSlides/notesSlide2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997300283"/>
      </p:ext>
    </p:extLst>
  </p:cSld>
  <p:clrMapOvr>
    <a:masterClrMapping/>
  </p:clrMapOvr>
</p:notes>
</file>

<file path=ppt/notesSlides/notesSlide2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>
          <a:xfrm>
            <a:off x="518160" y="4715153"/>
            <a:ext cx="5764529" cy="4466987"/>
          </a:xfrm>
        </p:spPr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538542209"/>
      </p:ext>
    </p:extLst>
  </p:cSld>
  <p:clrMapOvr>
    <a:masterClrMapping/>
  </p:clrMapOvr>
</p:notes>
</file>

<file path=ppt/notesSlides/notesSlide2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999484362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>
          <a:xfrm>
            <a:off x="468630" y="4715153"/>
            <a:ext cx="5650229" cy="4466987"/>
          </a:xfrm>
        </p:spPr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36370429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>
          <a:xfrm>
            <a:off x="426720" y="4715153"/>
            <a:ext cx="5619750" cy="4466987"/>
          </a:xfrm>
        </p:spPr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4183425134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90488" y="744538"/>
            <a:ext cx="6616700" cy="3722687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>
          <a:xfrm>
            <a:off x="575310" y="4715153"/>
            <a:ext cx="5619749" cy="4466987"/>
          </a:xfrm>
        </p:spPr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n-US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109074930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>
          <a:xfrm>
            <a:off x="525780" y="4715153"/>
            <a:ext cx="5627369" cy="4466987"/>
          </a:xfrm>
        </p:spPr>
        <p:txBody>
          <a:bodyPr/>
          <a:lstStyle/>
          <a:p>
            <a:pPr algn="just" defTabSz="457189" latinLnBrk="0">
              <a:lnSpc>
                <a:spcPct val="117999"/>
              </a:lnSpc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20830026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873006255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just" defTabSz="457189" eaLnBrk="1" fontAlgn="auto" latinLnBrk="0" hangingPunct="1">
              <a:lnSpc>
                <a:spcPct val="117999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el-GR" sz="1200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83042609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Θέση εικόνας διαφάνειας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Θέση σημειώσεων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defTabSz="457189" latinLnBrk="0">
              <a:lnSpc>
                <a:spcPct val="117999"/>
              </a:lnSpc>
            </a:pPr>
            <a:endParaRPr lang="el-GR" dirty="0">
              <a:effectLst/>
              <a:latin typeface="Arial" panose="020B0604020202020204" pitchFamily="34" charset="0"/>
              <a:ea typeface="Helvetica Neue"/>
              <a:cs typeface="Arial" panose="020B0604020202020204" pitchFamily="34" charset="0"/>
              <a:sym typeface="Helvetica Neue"/>
            </a:endParaRPr>
          </a:p>
        </p:txBody>
      </p:sp>
    </p:spTree>
    <p:extLst>
      <p:ext uri="{BB962C8B-B14F-4D97-AF65-F5344CB8AC3E}">
        <p14:creationId xmlns:p14="http://schemas.microsoft.com/office/powerpoint/2010/main" val="3535281375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e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Εικόνα 3" descr="Εικόνα που περιέχει κείμενο, ηλεκτρονικές συσκευές, ψάρι, στιγμιότυπο οθόνης&#10;&#10;Περιγραφή που δημιουργήθηκε αυτόματα">
            <a:extLst>
              <a:ext uri="{FF2B5EF4-FFF2-40B4-BE49-F238E27FC236}">
                <a16:creationId xmlns:a16="http://schemas.microsoft.com/office/drawing/2014/main" id="{5DD11B56-EF63-D154-325A-4DA2EF5C66E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539" y="0"/>
            <a:ext cx="24378922" cy="13716000"/>
          </a:xfrm>
          <a:prstGeom prst="rect">
            <a:avLst/>
          </a:prstGeom>
        </p:spPr>
      </p:pic>
      <p:sp>
        <p:nvSpPr>
          <p:cNvPr id="13" name="Shape 1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  <p:sp>
        <p:nvSpPr>
          <p:cNvPr id="7" name="Shape 30">
            <a:extLst>
              <a:ext uri="{FF2B5EF4-FFF2-40B4-BE49-F238E27FC236}">
                <a16:creationId xmlns:a16="http://schemas.microsoft.com/office/drawing/2014/main" id="{47541D56-0865-B74C-BB41-7716F4EE98A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549900" y="5903120"/>
            <a:ext cx="16738600" cy="1169193"/>
          </a:xfrm>
          <a:prstGeom prst="rect">
            <a:avLst/>
          </a:prstGeom>
        </p:spPr>
        <p:txBody>
          <a:bodyPr/>
          <a:lstStyle>
            <a:lvl1pPr algn="l">
              <a:defRPr sz="6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 dirty="0"/>
              <a:t>ΘΕΣΗ ΤΙΤΛΟΥ </a:t>
            </a:r>
            <a:r>
              <a:rPr lang="en-US" dirty="0"/>
              <a:t>Lorem ipsum dolor </a:t>
            </a:r>
            <a:endParaRPr dirty="0"/>
          </a:p>
        </p:txBody>
      </p:sp>
    </p:spTree>
  </p:cSld>
  <p:clrMapOvr>
    <a:masterClrMapping/>
  </p:clrMapOvr>
  <p:transition spd="med"/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Κεν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0" name="Shape 110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enotit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Εικόνα 2">
            <a:extLst>
              <a:ext uri="{FF2B5EF4-FFF2-40B4-BE49-F238E27FC236}">
                <a16:creationId xmlns:a16="http://schemas.microsoft.com/office/drawing/2014/main" id="{4D87F8E4-B7BE-194F-86B2-5046DABA2C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350" y="6350"/>
            <a:ext cx="24371300" cy="13703300"/>
          </a:xfrm>
          <a:prstGeom prst="rect">
            <a:avLst/>
          </a:prstGeom>
        </p:spPr>
      </p:pic>
      <p:sp>
        <p:nvSpPr>
          <p:cNvPr id="8" name="Shape 30">
            <a:extLst>
              <a:ext uri="{FF2B5EF4-FFF2-40B4-BE49-F238E27FC236}">
                <a16:creationId xmlns:a16="http://schemas.microsoft.com/office/drawing/2014/main" id="{0202D961-ABE1-6148-8555-8C013D802D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349" y="5903120"/>
            <a:ext cx="24371299" cy="1169193"/>
          </a:xfrm>
          <a:prstGeom prst="rect">
            <a:avLst/>
          </a:prstGeom>
        </p:spPr>
        <p:txBody>
          <a:bodyPr/>
          <a:lstStyle>
            <a:lvl1pPr algn="ctr">
              <a:defRPr sz="6500" b="1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lang="el-GR" dirty="0"/>
              <a:t>ΘΕΣΗ ΤΙΤΛΟΥ ΕΝΟΤΗΤΑΣ</a:t>
            </a:r>
            <a:endParaRPr dirty="0"/>
          </a:p>
        </p:txBody>
      </p:sp>
    </p:spTree>
  </p:cSld>
  <p:clrMapOvr>
    <a:masterClrMapping/>
  </p:clrMapOvr>
  <p:transition spd="med"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Εικόνα 2">
            <a:extLst>
              <a:ext uri="{FF2B5EF4-FFF2-40B4-BE49-F238E27FC236}">
                <a16:creationId xmlns:a16="http://schemas.microsoft.com/office/drawing/2014/main" id="{9FA849DB-AC0F-6A46-8F55-A7A81D4A03A6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30" name="Shape 30"/>
          <p:cNvSpPr>
            <a:spLocks noGrp="1"/>
          </p:cNvSpPr>
          <p:nvPr>
            <p:ph type="title"/>
          </p:nvPr>
        </p:nvSpPr>
        <p:spPr>
          <a:xfrm>
            <a:off x="1633821" y="1162489"/>
            <a:ext cx="21482050" cy="1066361"/>
          </a:xfrm>
          <a:prstGeom prst="rect">
            <a:avLst/>
          </a:prstGeom>
        </p:spPr>
        <p:txBody>
          <a:bodyPr/>
          <a:lstStyle>
            <a:lvl1pPr algn="l">
              <a:defRPr sz="4400" b="1">
                <a:solidFill>
                  <a:srgbClr val="07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dirty="0" err="1"/>
              <a:t>Κείμενο</a:t>
            </a:r>
            <a:r>
              <a:rPr dirty="0"/>
              <a:t> </a:t>
            </a:r>
            <a:r>
              <a:rPr dirty="0" err="1"/>
              <a:t>τίτλου</a:t>
            </a:r>
            <a:endParaRPr dirty="0"/>
          </a:p>
        </p:txBody>
      </p:sp>
      <p:sp>
        <p:nvSpPr>
          <p:cNvPr id="9" name="Shape 57">
            <a:extLst>
              <a:ext uri="{FF2B5EF4-FFF2-40B4-BE49-F238E27FC236}">
                <a16:creationId xmlns:a16="http://schemas.microsoft.com/office/drawing/2014/main" id="{9C51273A-6FAD-6C40-A168-F8E011452671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647676" y="2549769"/>
            <a:ext cx="21482050" cy="7794381"/>
          </a:xfrm>
          <a:prstGeom prst="rect">
            <a:avLst/>
          </a:prstGeom>
        </p:spPr>
        <p:txBody>
          <a:bodyPr/>
          <a:lstStyle>
            <a:lvl1pPr marL="457200" indent="-45720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Clr>
                <a:srgbClr val="00B0DA"/>
              </a:buClr>
              <a:buFont typeface="Wingdings" panose="05000000000000000000" pitchFamily="2" charset="2"/>
              <a:buChar char="q"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1320808" indent="-685800">
              <a:lnSpc>
                <a:spcPct val="150000"/>
              </a:lnSpc>
              <a:spcBef>
                <a:spcPts val="0"/>
              </a:spcBef>
              <a:spcAft>
                <a:spcPts val="2400"/>
              </a:spcAft>
              <a:buFont typeface="Arial" panose="020B0604020202020204" pitchFamily="34" charset="0"/>
              <a:buChar char="•"/>
              <a:defRPr sz="2400"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70016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905024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540032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ut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m</a:t>
            </a:r>
            <a:r>
              <a:rPr lang="en-US" dirty="0"/>
              <a:t> vel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vel </a:t>
            </a:r>
            <a:r>
              <a:rPr lang="en-US" dirty="0" err="1"/>
              <a:t>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at </a:t>
            </a:r>
            <a:r>
              <a:rPr lang="en-US" dirty="0" err="1"/>
              <a:t>vero</a:t>
            </a:r>
            <a:r>
              <a:rPr lang="en-US" dirty="0"/>
              <a:t> eros et </a:t>
            </a:r>
            <a:r>
              <a:rPr lang="en-US" dirty="0" err="1"/>
              <a:t>accumsan</a:t>
            </a:r>
            <a:r>
              <a:rPr lang="en-US" dirty="0"/>
              <a:t> et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dignissim</a:t>
            </a:r>
            <a:r>
              <a:rPr lang="en-US" dirty="0"/>
              <a:t> qui </a:t>
            </a:r>
            <a:r>
              <a:rPr lang="en-US" dirty="0" err="1"/>
              <a:t>blandit</a:t>
            </a:r>
            <a:r>
              <a:rPr lang="en-US" dirty="0"/>
              <a:t>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luptatum</a:t>
            </a:r>
            <a:r>
              <a:rPr lang="en-US" dirty="0"/>
              <a:t> </a:t>
            </a:r>
            <a:r>
              <a:rPr lang="en-US" dirty="0" err="1"/>
              <a:t>zzril</a:t>
            </a:r>
            <a:r>
              <a:rPr lang="en-US" dirty="0"/>
              <a:t> </a:t>
            </a:r>
            <a:r>
              <a:rPr lang="en-US" dirty="0" err="1"/>
              <a:t>deleni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</a:t>
            </a:r>
            <a:r>
              <a:rPr lang="en-US" dirty="0" err="1"/>
              <a:t>duis</a:t>
            </a:r>
            <a:r>
              <a:rPr lang="en-US" dirty="0"/>
              <a:t> dolor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feugai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facilisi</a:t>
            </a:r>
            <a:r>
              <a:rPr lang="en-US" dirty="0"/>
              <a:t>.</a:t>
            </a:r>
          </a:p>
          <a:p>
            <a:pPr lvl="1"/>
            <a:r>
              <a:rPr lang="en-US" dirty="0" err="1"/>
              <a:t>Hhhhdhhhsd</a:t>
            </a:r>
            <a:endParaRPr lang="en-US" dirty="0"/>
          </a:p>
          <a:p>
            <a:pPr lvl="0"/>
            <a:r>
              <a:rPr lang="en-US" dirty="0" err="1"/>
              <a:t>kglllfddffd</a:t>
            </a:r>
            <a:endParaRPr lang="en-US" dirty="0"/>
          </a:p>
          <a:p>
            <a:pPr lvl="1"/>
            <a:endParaRPr lang="en-US" sz="2400" dirty="0"/>
          </a:p>
          <a:p>
            <a:pPr lvl="1"/>
            <a:endParaRPr lang="el-GR" dirty="0"/>
          </a:p>
          <a:p>
            <a:endParaRPr dirty="0"/>
          </a:p>
        </p:txBody>
      </p:sp>
    </p:spTree>
  </p:cSld>
  <p:clrMapOvr>
    <a:masterClrMapping/>
  </p:clrMapOvr>
  <p:transition spd="med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-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Εικόνα 4">
            <a:extLst>
              <a:ext uri="{FF2B5EF4-FFF2-40B4-BE49-F238E27FC236}">
                <a16:creationId xmlns:a16="http://schemas.microsoft.com/office/drawing/2014/main" id="{8F40BB6B-FED4-AC4C-8C0D-6F8C62A086F7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24384000" cy="13716000"/>
          </a:xfrm>
          <a:prstGeom prst="rect">
            <a:avLst/>
          </a:prstGeom>
        </p:spPr>
      </p:pic>
      <p:sp>
        <p:nvSpPr>
          <p:cNvPr id="6" name="Shape 30">
            <a:extLst>
              <a:ext uri="{FF2B5EF4-FFF2-40B4-BE49-F238E27FC236}">
                <a16:creationId xmlns:a16="http://schemas.microsoft.com/office/drawing/2014/main" id="{C8491A3A-303D-A54E-951F-3CECCF3269C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633829" y="1162489"/>
            <a:ext cx="21482050" cy="1066361"/>
          </a:xfrm>
          <a:prstGeom prst="rect">
            <a:avLst/>
          </a:prstGeom>
        </p:spPr>
        <p:txBody>
          <a:bodyPr/>
          <a:lstStyle>
            <a:lvl1pPr algn="l">
              <a:defRPr sz="4400" b="1">
                <a:solidFill>
                  <a:srgbClr val="07509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r>
              <a:rPr dirty="0" err="1"/>
              <a:t>Κείμενο</a:t>
            </a:r>
            <a:r>
              <a:rPr dirty="0"/>
              <a:t> </a:t>
            </a:r>
            <a:r>
              <a:rPr dirty="0" err="1"/>
              <a:t>τίτλου</a:t>
            </a:r>
            <a:endParaRPr dirty="0"/>
          </a:p>
        </p:txBody>
      </p:sp>
      <p:sp>
        <p:nvSpPr>
          <p:cNvPr id="8" name="Shape 57">
            <a:extLst>
              <a:ext uri="{FF2B5EF4-FFF2-40B4-BE49-F238E27FC236}">
                <a16:creationId xmlns:a16="http://schemas.microsoft.com/office/drawing/2014/main" id="{A0F400F1-5512-D04F-89BF-272D1754EADD}"/>
              </a:ext>
            </a:extLst>
          </p:cNvPr>
          <p:cNvSpPr>
            <a:spLocks noGrp="1"/>
          </p:cNvSpPr>
          <p:nvPr>
            <p:ph type="body" idx="1" hasCustomPrompt="1"/>
          </p:nvPr>
        </p:nvSpPr>
        <p:spPr>
          <a:xfrm>
            <a:off x="1619974" y="3731060"/>
            <a:ext cx="8923337" cy="6041590"/>
          </a:xfrm>
          <a:prstGeom prst="rect">
            <a:avLst/>
          </a:prstGeom>
        </p:spPr>
        <p:txBody>
          <a:bodyPr/>
          <a:lstStyle>
            <a:lvl1pPr marL="0" indent="0"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  <a:latin typeface="Calibri" panose="020F0502020204030204" pitchFamily="34" charset="0"/>
                <a:cs typeface="Calibri" panose="020F0502020204030204" pitchFamily="34" charset="0"/>
              </a:defRPr>
            </a:lvl1pPr>
            <a:lvl2pPr marL="635008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270016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905024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540032" indent="0">
              <a:buNone/>
              <a:defRPr>
                <a:latin typeface="Arial" panose="020B0604020202020204" pitchFamily="34" charset="0"/>
                <a:cs typeface="Arial" panose="020B0604020202020204" pitchFamily="34" charset="0"/>
              </a:defRPr>
            </a:lvl5pPr>
          </a:lstStyle>
          <a:p>
            <a:r>
              <a:rPr lang="en-US" dirty="0"/>
              <a:t>Lorem ipsum dolor sit </a:t>
            </a:r>
            <a:r>
              <a:rPr lang="en-US" dirty="0" err="1"/>
              <a:t>amet</a:t>
            </a:r>
            <a:r>
              <a:rPr lang="en-US" dirty="0"/>
              <a:t>, </a:t>
            </a:r>
            <a:r>
              <a:rPr lang="en-US" dirty="0" err="1"/>
              <a:t>consectetuer</a:t>
            </a:r>
            <a:r>
              <a:rPr lang="en-US" dirty="0"/>
              <a:t> </a:t>
            </a:r>
            <a:r>
              <a:rPr lang="en-US" dirty="0" err="1"/>
              <a:t>adipiscing</a:t>
            </a:r>
            <a:r>
              <a:rPr lang="en-US" dirty="0"/>
              <a:t> </a:t>
            </a:r>
            <a:r>
              <a:rPr lang="en-US" dirty="0" err="1"/>
              <a:t>elit</a:t>
            </a:r>
            <a:r>
              <a:rPr lang="en-US" dirty="0"/>
              <a:t>, sed diam </a:t>
            </a:r>
            <a:r>
              <a:rPr lang="en-US" dirty="0" err="1"/>
              <a:t>nonummy</a:t>
            </a:r>
            <a:r>
              <a:rPr lang="en-US" dirty="0"/>
              <a:t> </a:t>
            </a:r>
            <a:r>
              <a:rPr lang="en-US" dirty="0" err="1"/>
              <a:t>nibh</a:t>
            </a:r>
            <a:r>
              <a:rPr lang="en-US" dirty="0"/>
              <a:t> </a:t>
            </a:r>
            <a:r>
              <a:rPr lang="en-US" dirty="0" err="1"/>
              <a:t>euismod</a:t>
            </a:r>
            <a:r>
              <a:rPr lang="en-US" dirty="0"/>
              <a:t> </a:t>
            </a:r>
            <a:r>
              <a:rPr lang="en-US" dirty="0" err="1"/>
              <a:t>tincidunt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laoreet</a:t>
            </a:r>
            <a:r>
              <a:rPr lang="en-US" dirty="0"/>
              <a:t> dolore magna </a:t>
            </a:r>
            <a:r>
              <a:rPr lang="en-US" dirty="0" err="1"/>
              <a:t>aliquam</a:t>
            </a:r>
            <a:r>
              <a:rPr lang="en-US" dirty="0"/>
              <a:t> </a:t>
            </a:r>
            <a:r>
              <a:rPr lang="en-US" dirty="0" err="1"/>
              <a:t>erat</a:t>
            </a:r>
            <a:r>
              <a:rPr lang="en-US" dirty="0"/>
              <a:t> </a:t>
            </a:r>
            <a:r>
              <a:rPr lang="en-US" dirty="0" err="1"/>
              <a:t>volutpat</a:t>
            </a:r>
            <a:r>
              <a:rPr lang="en-US" dirty="0"/>
              <a:t>. Ut </a:t>
            </a:r>
            <a:r>
              <a:rPr lang="en-US" dirty="0" err="1"/>
              <a:t>wisi</a:t>
            </a:r>
            <a:r>
              <a:rPr lang="en-US" dirty="0"/>
              <a:t> </a:t>
            </a:r>
            <a:r>
              <a:rPr lang="en-US" dirty="0" err="1"/>
              <a:t>enim</a:t>
            </a:r>
            <a:r>
              <a:rPr lang="en-US" dirty="0"/>
              <a:t> ad minim </a:t>
            </a:r>
            <a:r>
              <a:rPr lang="en-US" dirty="0" err="1"/>
              <a:t>veniam</a:t>
            </a:r>
            <a:r>
              <a:rPr lang="en-US" dirty="0"/>
              <a:t>, </a:t>
            </a:r>
            <a:r>
              <a:rPr lang="en-US" dirty="0" err="1"/>
              <a:t>quis</a:t>
            </a:r>
            <a:r>
              <a:rPr lang="en-US" dirty="0"/>
              <a:t> </a:t>
            </a:r>
            <a:r>
              <a:rPr lang="en-US" dirty="0" err="1"/>
              <a:t>nostrud</a:t>
            </a:r>
            <a:r>
              <a:rPr lang="en-US" dirty="0"/>
              <a:t> </a:t>
            </a:r>
            <a:r>
              <a:rPr lang="en-US" dirty="0" err="1"/>
              <a:t>exerci</a:t>
            </a:r>
            <a:r>
              <a:rPr lang="en-US" dirty="0"/>
              <a:t> </a:t>
            </a:r>
            <a:r>
              <a:rPr lang="en-US" dirty="0" err="1"/>
              <a:t>tation</a:t>
            </a:r>
            <a:r>
              <a:rPr lang="en-US" dirty="0"/>
              <a:t> </a:t>
            </a:r>
            <a:r>
              <a:rPr lang="en-US" dirty="0" err="1"/>
              <a:t>ullamcorper</a:t>
            </a:r>
            <a:r>
              <a:rPr lang="en-US" dirty="0"/>
              <a:t> </a:t>
            </a:r>
            <a:r>
              <a:rPr lang="en-US" dirty="0" err="1"/>
              <a:t>suscipit</a:t>
            </a:r>
            <a:r>
              <a:rPr lang="en-US" dirty="0"/>
              <a:t> </a:t>
            </a:r>
            <a:r>
              <a:rPr lang="en-US" dirty="0" err="1"/>
              <a:t>lobortis</a:t>
            </a:r>
            <a:r>
              <a:rPr lang="en-US" dirty="0"/>
              <a:t> </a:t>
            </a:r>
            <a:r>
              <a:rPr lang="en-US" dirty="0" err="1"/>
              <a:t>nisl</a:t>
            </a:r>
            <a:r>
              <a:rPr lang="en-US" dirty="0"/>
              <a:t> </a:t>
            </a:r>
            <a:r>
              <a:rPr lang="en-US" dirty="0" err="1"/>
              <a:t>ut</a:t>
            </a:r>
            <a:r>
              <a:rPr lang="en-US" dirty="0"/>
              <a:t> </a:t>
            </a:r>
            <a:r>
              <a:rPr lang="en-US" dirty="0" err="1"/>
              <a:t>aliquip</a:t>
            </a:r>
            <a:r>
              <a:rPr lang="en-US" dirty="0"/>
              <a:t> ex </a:t>
            </a:r>
            <a:r>
              <a:rPr lang="en-US" dirty="0" err="1"/>
              <a:t>ea</a:t>
            </a:r>
            <a:r>
              <a:rPr lang="en-US" dirty="0"/>
              <a:t> </a:t>
            </a:r>
            <a:r>
              <a:rPr lang="en-US" dirty="0" err="1"/>
              <a:t>commodo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. Duis </a:t>
            </a:r>
            <a:r>
              <a:rPr lang="en-US" dirty="0" err="1"/>
              <a:t>autem</a:t>
            </a:r>
            <a:r>
              <a:rPr lang="en-US" dirty="0"/>
              <a:t> vel </a:t>
            </a:r>
            <a:r>
              <a:rPr lang="en-US" dirty="0" err="1"/>
              <a:t>eum</a:t>
            </a:r>
            <a:r>
              <a:rPr lang="en-US" dirty="0"/>
              <a:t> </a:t>
            </a:r>
            <a:r>
              <a:rPr lang="en-US" dirty="0" err="1"/>
              <a:t>iriure</a:t>
            </a:r>
            <a:r>
              <a:rPr lang="en-US" dirty="0"/>
              <a:t> dolor in </a:t>
            </a:r>
            <a:r>
              <a:rPr lang="en-US" dirty="0" err="1"/>
              <a:t>hendrerit</a:t>
            </a:r>
            <a:r>
              <a:rPr lang="en-US" dirty="0"/>
              <a:t> in </a:t>
            </a:r>
            <a:r>
              <a:rPr lang="en-US" dirty="0" err="1"/>
              <a:t>vulputate</a:t>
            </a:r>
            <a:r>
              <a:rPr lang="en-US" dirty="0"/>
              <a:t> </a:t>
            </a:r>
            <a:r>
              <a:rPr lang="en-US" dirty="0" err="1"/>
              <a:t>velit</a:t>
            </a:r>
            <a:r>
              <a:rPr lang="en-US" dirty="0"/>
              <a:t> </a:t>
            </a:r>
            <a:r>
              <a:rPr lang="en-US" dirty="0" err="1"/>
              <a:t>esse</a:t>
            </a:r>
            <a:r>
              <a:rPr lang="en-US" dirty="0"/>
              <a:t> </a:t>
            </a:r>
            <a:r>
              <a:rPr lang="en-US" dirty="0" err="1"/>
              <a:t>molestie</a:t>
            </a:r>
            <a:r>
              <a:rPr lang="en-US" dirty="0"/>
              <a:t> </a:t>
            </a:r>
            <a:r>
              <a:rPr lang="en-US" dirty="0" err="1"/>
              <a:t>consequat</a:t>
            </a:r>
            <a:r>
              <a:rPr lang="en-US" dirty="0"/>
              <a:t>, vel </a:t>
            </a:r>
            <a:r>
              <a:rPr lang="en-US" dirty="0" err="1"/>
              <a:t>illum</a:t>
            </a:r>
            <a:r>
              <a:rPr lang="en-US" dirty="0"/>
              <a:t> dolore </a:t>
            </a:r>
            <a:r>
              <a:rPr lang="en-US" dirty="0" err="1"/>
              <a:t>eu</a:t>
            </a:r>
            <a:r>
              <a:rPr lang="en-US" dirty="0"/>
              <a:t> </a:t>
            </a:r>
            <a:r>
              <a:rPr lang="en-US" dirty="0" err="1"/>
              <a:t>feugia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facilisis</a:t>
            </a:r>
            <a:r>
              <a:rPr lang="en-US" dirty="0"/>
              <a:t> at </a:t>
            </a:r>
            <a:r>
              <a:rPr lang="en-US" dirty="0" err="1"/>
              <a:t>vero</a:t>
            </a:r>
            <a:r>
              <a:rPr lang="en-US" dirty="0"/>
              <a:t> eros et </a:t>
            </a:r>
            <a:r>
              <a:rPr lang="en-US" dirty="0" err="1"/>
              <a:t>accumsan</a:t>
            </a:r>
            <a:r>
              <a:rPr lang="en-US" dirty="0"/>
              <a:t> et </a:t>
            </a:r>
            <a:r>
              <a:rPr lang="en-US" dirty="0" err="1"/>
              <a:t>iusto</a:t>
            </a:r>
            <a:r>
              <a:rPr lang="en-US" dirty="0"/>
              <a:t> </a:t>
            </a:r>
            <a:r>
              <a:rPr lang="en-US" dirty="0" err="1"/>
              <a:t>odio</a:t>
            </a:r>
            <a:r>
              <a:rPr lang="en-US" dirty="0"/>
              <a:t> </a:t>
            </a:r>
            <a:r>
              <a:rPr lang="en-US" dirty="0" err="1"/>
              <a:t>dignissim</a:t>
            </a:r>
            <a:r>
              <a:rPr lang="en-US" dirty="0"/>
              <a:t> qui </a:t>
            </a:r>
            <a:r>
              <a:rPr lang="en-US" dirty="0" err="1"/>
              <a:t>blandit</a:t>
            </a:r>
            <a:r>
              <a:rPr lang="en-US" dirty="0"/>
              <a:t> </a:t>
            </a:r>
            <a:r>
              <a:rPr lang="en-US" dirty="0" err="1"/>
              <a:t>praesent</a:t>
            </a:r>
            <a:r>
              <a:rPr lang="en-US" dirty="0"/>
              <a:t> </a:t>
            </a:r>
            <a:r>
              <a:rPr lang="en-US" dirty="0" err="1"/>
              <a:t>luptatum</a:t>
            </a:r>
            <a:r>
              <a:rPr lang="en-US" dirty="0"/>
              <a:t> </a:t>
            </a:r>
            <a:r>
              <a:rPr lang="en-US" dirty="0" err="1"/>
              <a:t>zzril</a:t>
            </a:r>
            <a:r>
              <a:rPr lang="en-US" dirty="0"/>
              <a:t> </a:t>
            </a:r>
            <a:r>
              <a:rPr lang="en-US" dirty="0" err="1"/>
              <a:t>delenit</a:t>
            </a:r>
            <a:r>
              <a:rPr lang="en-US" dirty="0"/>
              <a:t> </a:t>
            </a:r>
            <a:r>
              <a:rPr lang="en-US" dirty="0" err="1"/>
              <a:t>augue</a:t>
            </a:r>
            <a:r>
              <a:rPr lang="en-US" dirty="0"/>
              <a:t> </a:t>
            </a:r>
            <a:r>
              <a:rPr lang="en-US" dirty="0" err="1"/>
              <a:t>duis</a:t>
            </a:r>
            <a:r>
              <a:rPr lang="en-US" dirty="0"/>
              <a:t> dolore </a:t>
            </a:r>
            <a:r>
              <a:rPr lang="en-US" dirty="0" err="1"/>
              <a:t>te</a:t>
            </a:r>
            <a:r>
              <a:rPr lang="en-US" dirty="0"/>
              <a:t> </a:t>
            </a:r>
            <a:r>
              <a:rPr lang="en-US" dirty="0" err="1"/>
              <a:t>feugait</a:t>
            </a:r>
            <a:r>
              <a:rPr lang="en-US" dirty="0"/>
              <a:t> </a:t>
            </a:r>
            <a:r>
              <a:rPr lang="en-US" dirty="0" err="1"/>
              <a:t>nulla</a:t>
            </a:r>
            <a:r>
              <a:rPr lang="en-US" dirty="0"/>
              <a:t> </a:t>
            </a:r>
            <a:r>
              <a:rPr lang="en-US" dirty="0" err="1"/>
              <a:t>facilisi</a:t>
            </a:r>
            <a:r>
              <a:rPr lang="en-US" dirty="0"/>
              <a:t>.</a:t>
            </a:r>
            <a:endParaRPr dirty="0"/>
          </a:p>
        </p:txBody>
      </p:sp>
      <p:sp>
        <p:nvSpPr>
          <p:cNvPr id="10" name="Θέση περιεχομένου 3">
            <a:extLst>
              <a:ext uri="{FF2B5EF4-FFF2-40B4-BE49-F238E27FC236}">
                <a16:creationId xmlns:a16="http://schemas.microsoft.com/office/drawing/2014/main" id="{4383E408-1D3C-1346-A857-1CA0FCB6666E}"/>
              </a:ext>
            </a:extLst>
          </p:cNvPr>
          <p:cNvSpPr>
            <a:spLocks noGrp="1"/>
          </p:cNvSpPr>
          <p:nvPr>
            <p:ph sz="half" idx="15" hasCustomPrompt="1"/>
          </p:nvPr>
        </p:nvSpPr>
        <p:spPr>
          <a:xfrm>
            <a:off x="12442932" y="2305879"/>
            <a:ext cx="11941068" cy="9271946"/>
          </a:xfrm>
          <a:prstGeom prst="rect">
            <a:avLst/>
          </a:prstGeom>
        </p:spPr>
        <p:txBody>
          <a:bodyPr anchor="t"/>
          <a:lstStyle>
            <a:lvl1pPr marL="0" indent="0" algn="l">
              <a:buNone/>
              <a:defRPr sz="2800"/>
            </a:lvl1pPr>
          </a:lstStyle>
          <a:p>
            <a:pPr lvl="0"/>
            <a:r>
              <a:rPr lang="el-GR" dirty="0"/>
              <a:t>Θ</a:t>
            </a:r>
            <a:r>
              <a:rPr lang="en-US" dirty="0" err="1"/>
              <a:t>έ</a:t>
            </a:r>
            <a:r>
              <a:rPr lang="el-GR" dirty="0" err="1"/>
              <a:t>ση</a:t>
            </a:r>
            <a:r>
              <a:rPr lang="el-GR" dirty="0"/>
              <a:t> εικόνας, γραφήματος</a:t>
            </a:r>
          </a:p>
        </p:txBody>
      </p:sp>
    </p:spTree>
  </p:cSld>
  <p:clrMapOvr>
    <a:masterClrMapping/>
  </p:clrMapOvr>
  <p:transition spd="med"/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Τίτλος, κουκκίδες και φωτογραφίε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5" name="Shape 65"/>
          <p:cNvSpPr>
            <a:spLocks noGrp="1"/>
          </p:cNvSpPr>
          <p:nvPr>
            <p:ph type="pic" sz="half" idx="13"/>
          </p:nvPr>
        </p:nvSpPr>
        <p:spPr>
          <a:xfrm>
            <a:off x="13169903" y="3238500"/>
            <a:ext cx="9525000" cy="920750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66" name="Shape 66"/>
          <p:cNvSpPr>
            <a:spLocks noGrp="1"/>
          </p:cNvSpPr>
          <p:nvPr>
            <p:ph type="title"/>
          </p:nvPr>
        </p:nvSpPr>
        <p:spPr>
          <a:xfrm>
            <a:off x="1689103" y="952501"/>
            <a:ext cx="21005800" cy="2286000"/>
          </a:xfrm>
          <a:prstGeom prst="rect">
            <a:avLst/>
          </a:prstGeom>
        </p:spPr>
        <p:txBody>
          <a:bodyPr/>
          <a:lstStyle/>
          <a:p>
            <a:r>
              <a:t>Κείμενο τίτλου</a:t>
            </a:r>
          </a:p>
        </p:txBody>
      </p:sp>
      <p:sp>
        <p:nvSpPr>
          <p:cNvPr id="67" name="Shape 67"/>
          <p:cNvSpPr>
            <a:spLocks noGrp="1"/>
          </p:cNvSpPr>
          <p:nvPr>
            <p:ph type="body" sz="half" idx="1"/>
          </p:nvPr>
        </p:nvSpPr>
        <p:spPr>
          <a:xfrm>
            <a:off x="1689101" y="3238500"/>
            <a:ext cx="10007600" cy="9207501"/>
          </a:xfrm>
          <a:prstGeom prst="rect">
            <a:avLst/>
          </a:prstGeom>
        </p:spPr>
        <p:txBody>
          <a:bodyPr/>
          <a:lstStyle>
            <a:lvl1pPr marL="558807" indent="-558807">
              <a:spcBef>
                <a:spcPts val="4501"/>
              </a:spcBef>
              <a:defRPr sz="4501"/>
            </a:lvl1pPr>
            <a:lvl2pPr marL="1117614" indent="-558807">
              <a:spcBef>
                <a:spcPts val="4501"/>
              </a:spcBef>
              <a:defRPr sz="4501"/>
            </a:lvl2pPr>
            <a:lvl3pPr marL="1676421" indent="-558807">
              <a:spcBef>
                <a:spcPts val="4501"/>
              </a:spcBef>
              <a:defRPr sz="4501"/>
            </a:lvl3pPr>
            <a:lvl4pPr marL="2235228" indent="-558807">
              <a:spcBef>
                <a:spcPts val="4501"/>
              </a:spcBef>
              <a:defRPr sz="4501"/>
            </a:lvl4pPr>
            <a:lvl5pPr marL="2794035" indent="-558807">
              <a:spcBef>
                <a:spcPts val="4501"/>
              </a:spcBef>
              <a:defRPr sz="4501"/>
            </a:lvl5pPr>
          </a:lstStyle>
          <a:p>
            <a:r>
              <a:t>Επίπεδο κύριου τμήματος ένα</a:t>
            </a:r>
          </a:p>
          <a:p>
            <a:pPr lvl="1"/>
            <a:r>
              <a:t>Επίπεδο κύριου τμήματος δύο</a:t>
            </a:r>
          </a:p>
          <a:p>
            <a:pPr lvl="2"/>
            <a:r>
              <a:t>Επίπεδο κύριου τμήματος τρία</a:t>
            </a:r>
          </a:p>
          <a:p>
            <a:pPr lvl="3"/>
            <a:r>
              <a:t>Επίπεδο κύριου τμήματος τέσσερα</a:t>
            </a:r>
          </a:p>
          <a:p>
            <a:pPr lvl="4"/>
            <a:r>
              <a:t>Επίπεδο κύριου τμήματος πέντε</a:t>
            </a:r>
          </a:p>
        </p:txBody>
      </p:sp>
      <p:sp>
        <p:nvSpPr>
          <p:cNvPr id="68" name="Shape 68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Κουκκίδε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5" name="Shape 75"/>
          <p:cNvSpPr>
            <a:spLocks noGrp="1"/>
          </p:cNvSpPr>
          <p:nvPr>
            <p:ph type="body" idx="1"/>
          </p:nvPr>
        </p:nvSpPr>
        <p:spPr>
          <a:xfrm>
            <a:off x="1689103" y="1778000"/>
            <a:ext cx="21005800" cy="10147301"/>
          </a:xfrm>
          <a:prstGeom prst="rect">
            <a:avLst/>
          </a:prstGeom>
        </p:spPr>
        <p:txBody>
          <a:bodyPr/>
          <a:lstStyle/>
          <a:p>
            <a:r>
              <a:t>Επίπεδο κύριου τμήματος ένα</a:t>
            </a:r>
          </a:p>
          <a:p>
            <a:pPr lvl="1"/>
            <a:r>
              <a:t>Επίπεδο κύριου τμήματος δύο</a:t>
            </a:r>
          </a:p>
          <a:p>
            <a:pPr lvl="2"/>
            <a:r>
              <a:t>Επίπεδο κύριου τμήματος τρία</a:t>
            </a:r>
          </a:p>
          <a:p>
            <a:pPr lvl="3"/>
            <a:r>
              <a:t>Επίπεδο κύριου τμήματος τέσσερα</a:t>
            </a:r>
          </a:p>
          <a:p>
            <a:pPr lvl="4"/>
            <a:r>
              <a:t>Επίπεδο κύριου τμήματος πέντε</a:t>
            </a:r>
          </a:p>
        </p:txBody>
      </p:sp>
      <p:sp>
        <p:nvSpPr>
          <p:cNvPr id="76" name="Shape 7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Φωτογραφία - 3 εικόνε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3" name="Shape 83"/>
          <p:cNvSpPr>
            <a:spLocks noGrp="1"/>
          </p:cNvSpPr>
          <p:nvPr>
            <p:ph type="pic" sz="quarter" idx="13"/>
          </p:nvPr>
        </p:nvSpPr>
        <p:spPr>
          <a:xfrm>
            <a:off x="15760699" y="7048500"/>
            <a:ext cx="7404101" cy="554990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4" name="Shape 84"/>
          <p:cNvSpPr>
            <a:spLocks noGrp="1"/>
          </p:cNvSpPr>
          <p:nvPr>
            <p:ph type="pic" sz="quarter" idx="14"/>
          </p:nvPr>
        </p:nvSpPr>
        <p:spPr>
          <a:xfrm>
            <a:off x="15760699" y="1130300"/>
            <a:ext cx="7404101" cy="554990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5" name="Shape 85"/>
          <p:cNvSpPr>
            <a:spLocks noGrp="1"/>
          </p:cNvSpPr>
          <p:nvPr>
            <p:ph type="pic" idx="15"/>
          </p:nvPr>
        </p:nvSpPr>
        <p:spPr>
          <a:xfrm>
            <a:off x="1206501" y="1130299"/>
            <a:ext cx="14173200" cy="11468101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86" name="Shape 86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Παράθεση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3" name="Shape 93"/>
          <p:cNvSpPr>
            <a:spLocks noGrp="1"/>
          </p:cNvSpPr>
          <p:nvPr>
            <p:ph type="body" sz="quarter" idx="13"/>
          </p:nvPr>
        </p:nvSpPr>
        <p:spPr>
          <a:xfrm>
            <a:off x="2387602" y="8953503"/>
            <a:ext cx="19621501" cy="687368"/>
          </a:xfrm>
          <a:prstGeom prst="rect">
            <a:avLst/>
          </a:prstGeom>
        </p:spPr>
        <p:txBody>
          <a:bodyPr anchor="t"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  <a:defRPr sz="3800">
                <a:latin typeface="Helvetica"/>
                <a:ea typeface="Helvetica"/>
                <a:cs typeface="Helvetica"/>
                <a:sym typeface="Helvetica"/>
              </a:defRPr>
            </a:lvl1pPr>
          </a:lstStyle>
          <a:p>
            <a:r>
              <a:t>–Γιάννης Μηλοσπόρος</a:t>
            </a:r>
          </a:p>
        </p:txBody>
      </p:sp>
      <p:sp>
        <p:nvSpPr>
          <p:cNvPr id="94" name="Shape 94"/>
          <p:cNvSpPr>
            <a:spLocks noGrp="1"/>
          </p:cNvSpPr>
          <p:nvPr>
            <p:ph type="body" sz="quarter" idx="14"/>
          </p:nvPr>
        </p:nvSpPr>
        <p:spPr>
          <a:xfrm>
            <a:off x="2387602" y="6038296"/>
            <a:ext cx="19621501" cy="902811"/>
          </a:xfrm>
          <a:prstGeom prst="rect">
            <a:avLst/>
          </a:prstGeom>
        </p:spPr>
        <p:txBody>
          <a:bodyPr>
            <a:spAutoFit/>
          </a:bodyPr>
          <a:lstStyle>
            <a:lvl1pPr marL="0" indent="0" algn="ctr">
              <a:spcBef>
                <a:spcPts val="0"/>
              </a:spcBef>
              <a:buSzTx/>
              <a:buNone/>
            </a:lvl1pPr>
          </a:lstStyle>
          <a:p>
            <a:r>
              <a:t>«Πληκτρολογήστε παράθεση εδώ.» </a:t>
            </a:r>
          </a:p>
        </p:txBody>
      </p:sp>
      <p:sp>
        <p:nvSpPr>
          <p:cNvPr id="95" name="Shape 95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x">
  <p:cSld name="Φωτογραφία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2" name="Shape 102"/>
          <p:cNvSpPr>
            <a:spLocks noGrp="1"/>
          </p:cNvSpPr>
          <p:nvPr>
            <p:ph type="pic" idx="13"/>
          </p:nvPr>
        </p:nvSpPr>
        <p:spPr>
          <a:xfrm>
            <a:off x="0" y="0"/>
            <a:ext cx="24384000" cy="13716000"/>
          </a:xfrm>
          <a:prstGeom prst="rect">
            <a:avLst/>
          </a:prstGeom>
        </p:spPr>
        <p:txBody>
          <a:bodyPr lIns="91439" tIns="45719" rIns="91439" bIns="45719" anchor="t">
            <a:noAutofit/>
          </a:bodyPr>
          <a:lstStyle/>
          <a:p>
            <a:endParaRPr/>
          </a:p>
        </p:txBody>
      </p:sp>
      <p:sp>
        <p:nvSpPr>
          <p:cNvPr id="103" name="Shape 103"/>
          <p:cNvSpPr>
            <a:spLocks noGrp="1"/>
          </p:cNvSpPr>
          <p:nvPr>
            <p:ph type="sldNum" sz="quarter" idx="2"/>
          </p:nvPr>
        </p:nvSpPr>
        <p:spPr>
          <a:prstGeom prst="rect">
            <a:avLst/>
          </a:prstGeom>
        </p:spPr>
        <p:txBody>
          <a:bodyPr/>
          <a:lstStyle/>
          <a:p>
            <a:fld id="{86CB4B4D-7CA3-9044-876B-883B54F8677D}" type="slidenum">
              <a:t>‹#›</a:t>
            </a:fld>
            <a:endParaRPr/>
          </a:p>
        </p:txBody>
      </p:sp>
    </p:spTree>
  </p:cSld>
  <p:clrMapOvr>
    <a:masterClrMapping/>
  </p:clrMapOvr>
  <p:transition spd="med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theme" Target="../theme/theme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Shape 4"/>
          <p:cNvSpPr>
            <a:spLocks noGrp="1"/>
          </p:cNvSpPr>
          <p:nvPr>
            <p:ph type="sldNum" sz="quarter" idx="2"/>
          </p:nvPr>
        </p:nvSpPr>
        <p:spPr>
          <a:xfrm>
            <a:off x="11928368" y="13081000"/>
            <a:ext cx="514564" cy="471924"/>
          </a:xfrm>
          <a:prstGeom prst="rect">
            <a:avLst/>
          </a:prstGeom>
          <a:ln w="12700">
            <a:miter lim="400000"/>
          </a:ln>
        </p:spPr>
        <p:txBody>
          <a:bodyPr wrap="none" lIns="50800" tIns="50800" rIns="50800" bIns="50800">
            <a:spAutoFit/>
          </a:bodyPr>
          <a:lstStyle>
            <a:lvl1pPr>
              <a:defRPr sz="2400"/>
            </a:lvl1pPr>
          </a:lstStyle>
          <a:p>
            <a:fld id="{86CB4B4D-7CA3-9044-876B-883B54F8677D}" type="slidenum">
              <a:t>‹#›</a:t>
            </a:fld>
            <a:endParaRPr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3" r:id="rId4"/>
    <p:sldLayoutId id="2147483655" r:id="rId5"/>
    <p:sldLayoutId id="2147483656" r:id="rId6"/>
    <p:sldLayoutId id="2147483657" r:id="rId7"/>
    <p:sldLayoutId id="2147483658" r:id="rId8"/>
    <p:sldLayoutId id="2147483659" r:id="rId9"/>
    <p:sldLayoutId id="2147483660" r:id="rId10"/>
  </p:sldLayoutIdLst>
  <p:transition spd="med"/>
  <p:txStyles>
    <p:titleStyle>
      <a:lvl1pPr marL="0" marR="0" indent="0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3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6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9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11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14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17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20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23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11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titleStyle>
    <p:bodyStyle>
      <a:lvl1pPr marL="635008" marR="0" indent="-635008" algn="l" defTabSz="825512" rtl="0" latinLnBrk="0">
        <a:lnSpc>
          <a:spcPct val="100000"/>
        </a:lnSpc>
        <a:spcBef>
          <a:spcPts val="5901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1pPr>
      <a:lvl2pPr marL="1270016" marR="0" indent="-635008" algn="l" defTabSz="825512" rtl="0" latinLnBrk="0">
        <a:lnSpc>
          <a:spcPct val="100000"/>
        </a:lnSpc>
        <a:spcBef>
          <a:spcPts val="5901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2pPr>
      <a:lvl3pPr marL="1905024" marR="0" indent="-635008" algn="l" defTabSz="825512" rtl="0" latinLnBrk="0">
        <a:lnSpc>
          <a:spcPct val="100000"/>
        </a:lnSpc>
        <a:spcBef>
          <a:spcPts val="5901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3pPr>
      <a:lvl4pPr marL="2540032" marR="0" indent="-635008" algn="l" defTabSz="825512" rtl="0" latinLnBrk="0">
        <a:lnSpc>
          <a:spcPct val="100000"/>
        </a:lnSpc>
        <a:spcBef>
          <a:spcPts val="5901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4pPr>
      <a:lvl5pPr marL="3175040" marR="0" indent="-635008" algn="l" defTabSz="825512" rtl="0" latinLnBrk="0">
        <a:lnSpc>
          <a:spcPct val="100000"/>
        </a:lnSpc>
        <a:spcBef>
          <a:spcPts val="5901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5pPr>
      <a:lvl6pPr marL="3810048" marR="0" indent="-635008" algn="l" defTabSz="825512" rtl="0" latinLnBrk="0">
        <a:lnSpc>
          <a:spcPct val="100000"/>
        </a:lnSpc>
        <a:spcBef>
          <a:spcPts val="5901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6pPr>
      <a:lvl7pPr marL="4445056" marR="0" indent="-635008" algn="l" defTabSz="825512" rtl="0" latinLnBrk="0">
        <a:lnSpc>
          <a:spcPct val="100000"/>
        </a:lnSpc>
        <a:spcBef>
          <a:spcPts val="5901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7pPr>
      <a:lvl8pPr marL="5080064" marR="0" indent="-635008" algn="l" defTabSz="825512" rtl="0" latinLnBrk="0">
        <a:lnSpc>
          <a:spcPct val="100000"/>
        </a:lnSpc>
        <a:spcBef>
          <a:spcPts val="5901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8pPr>
      <a:lvl9pPr marL="5715071" marR="0" indent="-635008" algn="l" defTabSz="825512" rtl="0" latinLnBrk="0">
        <a:lnSpc>
          <a:spcPct val="100000"/>
        </a:lnSpc>
        <a:spcBef>
          <a:spcPts val="5901"/>
        </a:spcBef>
        <a:spcAft>
          <a:spcPts val="0"/>
        </a:spcAft>
        <a:buClrTx/>
        <a:buSzPct val="75000"/>
        <a:buFontTx/>
        <a:buChar char="•"/>
        <a:tabLst/>
        <a:defRPr sz="5200" b="0" i="0" u="none" strike="noStrike" cap="none" spc="0" baseline="0">
          <a:ln>
            <a:noFill/>
          </a:ln>
          <a:solidFill>
            <a:srgbClr val="000000"/>
          </a:solidFill>
          <a:uFillTx/>
          <a:latin typeface="+mn-lt"/>
          <a:ea typeface="+mn-ea"/>
          <a:cs typeface="+mn-cs"/>
          <a:sym typeface="Helvetica Light"/>
        </a:defRPr>
      </a:lvl9pPr>
    </p:bodyStyle>
    <p:otherStyle>
      <a:lvl1pPr marL="0" marR="0" indent="0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1pPr>
      <a:lvl2pPr marL="0" marR="0" indent="228603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2pPr>
      <a:lvl3pPr marL="0" marR="0" indent="457206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3pPr>
      <a:lvl4pPr marL="0" marR="0" indent="685809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4pPr>
      <a:lvl5pPr marL="0" marR="0" indent="914411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5pPr>
      <a:lvl6pPr marL="0" marR="0" indent="1143014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6pPr>
      <a:lvl7pPr marL="0" marR="0" indent="1371617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7pPr>
      <a:lvl8pPr marL="0" marR="0" indent="1600220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8pPr>
      <a:lvl9pPr marL="0" marR="0" indent="1828823" algn="ctr" defTabSz="825512" rtl="0" latinLnBrk="0">
        <a:lnSpc>
          <a:spcPct val="100000"/>
        </a:lnSpc>
        <a:spcBef>
          <a:spcPts val="0"/>
        </a:spcBef>
        <a:spcAft>
          <a:spcPts val="0"/>
        </a:spcAft>
        <a:buClrTx/>
        <a:buSzTx/>
        <a:buFontTx/>
        <a:buNone/>
        <a:tabLst/>
        <a:defRPr sz="2400" b="0" i="0" u="none" strike="noStrike" cap="none" spc="0" baseline="0">
          <a:ln>
            <a:noFill/>
          </a:ln>
          <a:solidFill>
            <a:schemeClr val="tx1"/>
          </a:solidFill>
          <a:uFillTx/>
          <a:latin typeface="+mn-lt"/>
          <a:ea typeface="+mn-ea"/>
          <a:cs typeface="+mn-cs"/>
          <a:sym typeface="Helvetica Light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5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11.gif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7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8.xml"/></Relationships>
</file>

<file path=ppt/slides/_rels/slide1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3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9.xml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3.xml"/></Relationships>
</file>

<file path=ppt/slides/_rels/slide1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2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4.png"/><Relationship Id="rId4" Type="http://schemas.openxmlformats.org/officeDocument/2006/relationships/image" Target="../media/image13.png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notesSlide" Target="../notesSlides/notesSlide19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7.png"/><Relationship Id="rId4" Type="http://schemas.openxmlformats.org/officeDocument/2006/relationships/image" Target="../media/image16.png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2.xml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8.jpeg"/><Relationship Id="rId2" Type="http://schemas.openxmlformats.org/officeDocument/2006/relationships/notesSlide" Target="../notesSlides/notesSlide20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1.png"/><Relationship Id="rId5" Type="http://schemas.openxmlformats.org/officeDocument/2006/relationships/image" Target="../media/image20.png"/><Relationship Id="rId4" Type="http://schemas.openxmlformats.org/officeDocument/2006/relationships/image" Target="../media/image19.png"/></Relationships>
</file>

<file path=ppt/slides/_rels/slide2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7.png"/><Relationship Id="rId3" Type="http://schemas.openxmlformats.org/officeDocument/2006/relationships/image" Target="../media/image22.png"/><Relationship Id="rId7" Type="http://schemas.openxmlformats.org/officeDocument/2006/relationships/image" Target="../media/image26.png"/><Relationship Id="rId2" Type="http://schemas.openxmlformats.org/officeDocument/2006/relationships/notesSlide" Target="../notesSlides/notesSlide21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25.png"/><Relationship Id="rId5" Type="http://schemas.openxmlformats.org/officeDocument/2006/relationships/image" Target="../media/image24.png"/><Relationship Id="rId4" Type="http://schemas.openxmlformats.org/officeDocument/2006/relationships/image" Target="../media/image23.png"/><Relationship Id="rId9" Type="http://schemas.openxmlformats.org/officeDocument/2006/relationships/image" Target="../media/image28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png"/><Relationship Id="rId7" Type="http://schemas.openxmlformats.org/officeDocument/2006/relationships/image" Target="../media/image33.png"/><Relationship Id="rId2" Type="http://schemas.openxmlformats.org/officeDocument/2006/relationships/notesSlide" Target="../notesSlides/notesSlide22.xml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32.png"/><Relationship Id="rId5" Type="http://schemas.openxmlformats.org/officeDocument/2006/relationships/image" Target="../media/image31.png"/><Relationship Id="rId4" Type="http://schemas.openxmlformats.org/officeDocument/2006/relationships/image" Target="../media/image30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png"/><Relationship Id="rId2" Type="http://schemas.openxmlformats.org/officeDocument/2006/relationships/notesSlide" Target="../notesSlides/notesSlide2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35.png"/></Relationships>
</file>

<file path=ppt/slides/_rels/slide2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4.xml"/><Relationship Id="rId1" Type="http://schemas.openxmlformats.org/officeDocument/2006/relationships/slideLayout" Target="../slideLayouts/slideLayout3.xml"/></Relationships>
</file>

<file path=ppt/slides/_rels/slide2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5.xml"/><Relationship Id="rId1" Type="http://schemas.openxmlformats.org/officeDocument/2006/relationships/slideLayout" Target="../slideLayouts/slideLayout2.xml"/></Relationships>
</file>

<file path=ppt/slides/_rels/slide2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6.xml"/><Relationship Id="rId1" Type="http://schemas.openxmlformats.org/officeDocument/2006/relationships/slideLayout" Target="../slideLayouts/slideLayout3.xml"/></Relationships>
</file>

<file path=ppt/slides/_rels/slide2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7.xml"/><Relationship Id="rId1" Type="http://schemas.openxmlformats.org/officeDocument/2006/relationships/slideLayout" Target="../slideLayouts/slideLayout3.xml"/></Relationships>
</file>

<file path=ppt/slides/_rels/slide2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28.xml"/><Relationship Id="rId1" Type="http://schemas.openxmlformats.org/officeDocument/2006/relationships/slideLayout" Target="../slideLayouts/slideLayout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tags" Target="../tags/tag3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6" Type="http://schemas.openxmlformats.org/officeDocument/2006/relationships/chart" Target="../charts/chart1.xml"/><Relationship Id="rId5" Type="http://schemas.openxmlformats.org/officeDocument/2006/relationships/notesSlide" Target="../notesSlides/notesSlide3.xml"/><Relationship Id="rId4" Type="http://schemas.openxmlformats.org/officeDocument/2006/relationships/slideLayout" Target="../slideLayouts/slideLayout4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3.xml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8.png"/><Relationship Id="rId5" Type="http://schemas.openxmlformats.org/officeDocument/2006/relationships/image" Target="../media/image7.png"/><Relationship Id="rId4" Type="http://schemas.openxmlformats.org/officeDocument/2006/relationships/image" Target="../media/image6.png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2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gif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3.xml"/><Relationship Id="rId4" Type="http://schemas.openxmlformats.org/officeDocument/2006/relationships/chart" Target="../charts/char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F9C8F53F-3DB2-CD44-B558-FE8F5A2AAD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ΕΤΑΙΡΙΚΟ ΣΥΜΦΩΝΟ ΠΕΡΙΦΕΡΕΙΑΚΗΣ ΑΝΑΠΤΥΞΗΣ (ΕΣΠΑ 2021-2027)</a:t>
            </a:r>
            <a:br>
              <a:rPr lang="el-GR" dirty="0"/>
            </a:br>
            <a:r>
              <a:rPr lang="el-GR" dirty="0"/>
              <a:t>Πόροι, Βασικές Αρχές, Προγράμματα</a:t>
            </a:r>
          </a:p>
        </p:txBody>
      </p:sp>
    </p:spTree>
    <p:extLst>
      <p:ext uri="{BB962C8B-B14F-4D97-AF65-F5344CB8AC3E}">
        <p14:creationId xmlns:p14="http://schemas.microsoft.com/office/powerpoint/2010/main" val="999650122"/>
      </p:ext>
    </p:extLst>
  </p:cSld>
  <p:clrMapOvr>
    <a:masterClrMapping/>
  </p:clrMapOvr>
  <p:transition spd="slow"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E340707-302F-7AA9-69E6-8F2CF7DE0B7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ρόγραμμα «Ανθρώπινο Δυναμικό και Κοινωνική Συνοχή» π/υ 4.162 εκατ. €</a:t>
            </a:r>
            <a:endParaRPr lang="en-US" dirty="0"/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D286C371-796C-6DC1-18B9-9FFB4D08F0D4}"/>
              </a:ext>
            </a:extLst>
          </p:cNvPr>
          <p:cNvSpPr txBox="1"/>
          <p:nvPr/>
        </p:nvSpPr>
        <p:spPr>
          <a:xfrm>
            <a:off x="17638294" y="2228850"/>
            <a:ext cx="6292517" cy="956678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Νταντάδες της Γειτονιάς </a:t>
            </a:r>
            <a:endParaRPr lang="en-US" sz="3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Επέκταση ωραρίου λειτουργίας ολοήμερων νηπιαγωγείων και δημοτικών σχολείων</a:t>
            </a:r>
            <a:endParaRPr lang="en-US" sz="3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Συμπεριληπτική εκπαίδευση για μαθητές με αναπηρία</a:t>
            </a:r>
            <a:endParaRPr lang="en-US" sz="3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Λειτουργία Γραφείων Επαγγελματικής Ανάπτυξης &amp; Σταδιοδρομίας – ΓΕΑΣ</a:t>
            </a:r>
            <a:endParaRPr lang="en-US" sz="3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Υποστήριξη και ενίσχυση νεανικής επιχειρηματικότητας</a:t>
            </a:r>
            <a:endParaRPr lang="en-US" sz="3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Ενίσχυση Μαθητείας νέων έως 29 ετών</a:t>
            </a:r>
            <a:endParaRPr lang="en-US" sz="3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Παρατηρητήριο Ισότητας Φύλων και Δημογραφικής πολιτικής</a:t>
            </a:r>
            <a:endParaRPr lang="en-US" sz="3200" dirty="0"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6" name="Chart 5">
            <a:extLst>
              <a:ext uri="{FF2B5EF4-FFF2-40B4-BE49-F238E27FC236}">
                <a16:creationId xmlns:a16="http://schemas.microsoft.com/office/drawing/2014/main" id="{E365670A-C580-03C2-04C1-85A1E72269F4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2232444486"/>
              </p:ext>
            </p:extLst>
          </p:nvPr>
        </p:nvGraphicFramePr>
        <p:xfrm>
          <a:off x="685799" y="2598821"/>
          <a:ext cx="16952495" cy="863867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2937500997"/>
      </p:ext>
    </p:extLst>
  </p:cSld>
  <p:clrMapOvr>
    <a:masterClrMapping/>
  </p:clrMapOvr>
  <p:transition spd="med"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4242A01-A95A-A7E2-8612-43F81593805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ρόγραμμα «Ψηφιακός Μετασχηματισμός» π/υ 943 εκατ. €</a:t>
            </a:r>
            <a:endParaRPr lang="en-US" dirty="0"/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DBB54E89-86AF-FACE-01CF-58A5B26D46EC}"/>
              </a:ext>
            </a:extLst>
          </p:cNvPr>
          <p:cNvSpPr txBox="1"/>
          <p:nvPr/>
        </p:nvSpPr>
        <p:spPr>
          <a:xfrm>
            <a:off x="18227842" y="2470224"/>
            <a:ext cx="5702970" cy="763702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Ανάπτυξη Υποδομών </a:t>
            </a:r>
            <a:r>
              <a:rPr lang="el-GR" sz="3200" dirty="0" err="1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Υπερυψηλής</a:t>
            </a: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l-GR" sz="3200" dirty="0" err="1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Ευρυζωνικότητας</a:t>
            </a: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(</a:t>
            </a:r>
            <a:r>
              <a:rPr lang="en-GB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ltra-Fast Broadband) - </a:t>
            </a: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Β’ Φάση (</a:t>
            </a:r>
            <a:r>
              <a:rPr lang="en-GB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hasing)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UFBB ΙΙ – σε περιοχές που δεν θα έχουν κάλυψη τύπου VHCN</a:t>
            </a:r>
            <a:endParaRPr lang="en-US" sz="3200" dirty="0">
              <a:solidFill>
                <a:srgbClr val="1F3864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Ψηφιακός Μετασχηματισμός των ΟΤΑ</a:t>
            </a:r>
            <a:endParaRPr lang="en-US" sz="3200" dirty="0">
              <a:solidFill>
                <a:srgbClr val="1F3864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Δίκτυο Δημόσιου Τομέα (ΣΥΖΕΥΞΙΣ ΙΙ) - Β’ Φάση (</a:t>
            </a:r>
            <a:r>
              <a:rPr lang="el-GR" sz="3200" dirty="0" err="1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phasing</a:t>
            </a: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)</a:t>
            </a:r>
            <a:endParaRPr lang="en-US" sz="3200" dirty="0">
              <a:solidFill>
                <a:srgbClr val="1F3864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8" name="Chart 7">
            <a:extLst>
              <a:ext uri="{FF2B5EF4-FFF2-40B4-BE49-F238E27FC236}">
                <a16:creationId xmlns:a16="http://schemas.microsoft.com/office/drawing/2014/main" id="{0E3AAF22-7F61-13F9-C1B3-8F4D427E955A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3723227070"/>
              </p:ext>
            </p:extLst>
          </p:nvPr>
        </p:nvGraphicFramePr>
        <p:xfrm>
          <a:off x="926432" y="2815390"/>
          <a:ext cx="17301409" cy="844616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3368716238"/>
      </p:ext>
    </p:extLst>
  </p:cSld>
  <p:clrMapOvr>
    <a:masterClrMapping/>
  </p:clrMapOvr>
  <p:transition spd="med"/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7C0FB74-57EA-1B7F-247E-77665495CC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ρόγραμμα «Περιβάλλον και Κλιματική Αλλαγή» π/υ 3.607 εκατ. €</a:t>
            </a:r>
            <a:endParaRPr lang="en-US" dirty="0"/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32A87DF2-6ACB-EFBB-469A-F4E94523E68B}"/>
              </a:ext>
            </a:extLst>
          </p:cNvPr>
          <p:cNvGraphicFramePr>
            <a:graphicFrameLocks/>
          </p:cNvGraphicFramePr>
          <p:nvPr/>
        </p:nvGraphicFramePr>
        <p:xfrm>
          <a:off x="1100890" y="2514600"/>
          <a:ext cx="16377486" cy="8942972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E8A6CC21-FBA5-0418-389B-A6AC83911D28}"/>
              </a:ext>
            </a:extLst>
          </p:cNvPr>
          <p:cNvSpPr txBox="1"/>
          <p:nvPr/>
        </p:nvSpPr>
        <p:spPr>
          <a:xfrm>
            <a:off x="18297524" y="2470224"/>
            <a:ext cx="5633287" cy="835722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4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Πρόγραμμα «ΕΞΟΙΚΟΝΟΜΩ»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4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Παρεμβάσεις </a:t>
            </a:r>
            <a:r>
              <a:rPr lang="el-GR" sz="3200" dirty="0" err="1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Greco</a:t>
            </a:r>
            <a:r>
              <a:rPr lang="en-US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  <a:r>
              <a:rPr lang="en-US" sz="3200" dirty="0">
                <a:solidFill>
                  <a:srgbClr val="1F386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i</a:t>
            </a:r>
            <a:r>
              <a:rPr lang="el-GR" sz="3200" dirty="0" err="1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slands</a:t>
            </a:r>
            <a:endParaRPr lang="en-US" sz="3200" dirty="0">
              <a:solidFill>
                <a:srgbClr val="1F3864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4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Ενεργειακή διασύνδεση νησιών με το ηπειρωτικό σύστημα</a:t>
            </a:r>
            <a:endParaRPr lang="en-US" sz="3200" dirty="0">
              <a:solidFill>
                <a:srgbClr val="1F3864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4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Αντιπλημμυρική θωράκιση της Χώρας</a:t>
            </a:r>
            <a:endParaRPr lang="en-US" sz="3200" dirty="0">
              <a:solidFill>
                <a:srgbClr val="1F3864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4"/>
              </a:buBlip>
            </a:pPr>
            <a:r>
              <a:rPr lang="el-GR" sz="3200" dirty="0">
                <a:solidFill>
                  <a:srgbClr val="1F3864"/>
                </a:solidFill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Σ</a:t>
            </a: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ύγχρονες Μονάδες Ανάκτησης και Ανακύκλωσης (RRF)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4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Ολοκλήρωση Οικολογικού Πάρκου στο Φαληρικό Όρμο</a:t>
            </a:r>
            <a:endParaRPr lang="en-US" sz="3200" dirty="0">
              <a:solidFill>
                <a:srgbClr val="1F3864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638131034"/>
      </p:ext>
    </p:extLst>
  </p:cSld>
  <p:clrMapOvr>
    <a:masterClrMapping/>
  </p:clrMapOvr>
  <p:transition spd="med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00DE1FA-02D6-3C69-7BB2-CD116EFED24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ρόγραμμα «Μεταφορές» π/υ 2.224 εκατ. €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73D4C46D-9B76-8741-79C2-BF54E64074AD}"/>
              </a:ext>
            </a:extLst>
          </p:cNvPr>
          <p:cNvSpPr txBox="1"/>
          <p:nvPr/>
        </p:nvSpPr>
        <p:spPr>
          <a:xfrm>
            <a:off x="18745200" y="2386002"/>
            <a:ext cx="5185611" cy="9412898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Γραμμή 4 Μετρό Αθήνας, 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Αναβάθμιση/αναδιάρθρωση δικτύου, στόλος  λεωφορείων μηδενικών εκπομπών στην Αθήνα και τη Θεσσαλονίκη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Ολοκλήρωση κατασκευής Νέας Διπλής Σιδηροδρομικής Γραμμής Αθήνας (ΣΚΑ) – Πάτρας στο τμήμα Ροδοδάφνη – Ρίο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ΒΟΑΚ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Εκσυγχρονισμός του Εθνικού Συστήματος VTMIS.</a:t>
            </a:r>
          </a:p>
        </p:txBody>
      </p:sp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69BA046-9387-708C-287D-2F2B5D4B1D65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326634852"/>
              </p:ext>
            </p:extLst>
          </p:nvPr>
        </p:nvGraphicFramePr>
        <p:xfrm>
          <a:off x="683325" y="2622884"/>
          <a:ext cx="17123411" cy="871086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7289805"/>
      </p:ext>
    </p:extLst>
  </p:cSld>
  <p:clrMapOvr>
    <a:masterClrMapping/>
  </p:clrMapOvr>
  <p:transition spd="med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BB9FB53-972B-6B65-6434-AF94CF13118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ρόγραμμα «Πολιτική Προστασία» π/υ 714 εκατ. €</a:t>
            </a:r>
            <a:endParaRPr lang="en-US" dirty="0"/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1C5C5AAD-3176-A542-FEBD-BD336ABA09C4}"/>
              </a:ext>
            </a:extLst>
          </p:cNvPr>
          <p:cNvSpPr txBox="1"/>
          <p:nvPr/>
        </p:nvSpPr>
        <p:spPr>
          <a:xfrm>
            <a:off x="17916526" y="2470224"/>
            <a:ext cx="6014286" cy="8704883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28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ΟΠΣ Διαχείρισης Κινδύνων και Πρόληψης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28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Αμφίβια Α/Φ πυρόσβεσης τύπου Air </a:t>
            </a:r>
            <a:r>
              <a:rPr lang="el-GR" sz="2800" dirty="0" err="1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tractor</a:t>
            </a:r>
            <a:r>
              <a:rPr lang="el-GR" sz="28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για τα νησιά και νέα πυροσβεστικά Α/Φ τύπου </a:t>
            </a:r>
            <a:r>
              <a:rPr lang="el-GR" sz="2800" dirty="0" err="1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Canadair</a:t>
            </a:r>
            <a:r>
              <a:rPr lang="el-GR" sz="28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CL 515 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28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Εξοπλισμός – συστήματα πρόληψης, αντιμετώπισης - διαχείρισης και έγκαιρης προειδοποίησης για φυσικούς κινδύνους που δεν σχετίζονται με το κλίμα και ανθρωπογενείς κινδύνους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28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Βελτίωση ικανότητας πληθυσμού στην αντιμετώπιση φυσικών καταστροφών μέσω δράσεων ευαισθητοποίησης</a:t>
            </a: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A4DA6B7F-A689-9FC1-1D88-7B734AA66983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600738652"/>
              </p:ext>
            </p:extLst>
          </p:nvPr>
        </p:nvGraphicFramePr>
        <p:xfrm>
          <a:off x="866274" y="2370221"/>
          <a:ext cx="17229221" cy="8975558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803235582"/>
      </p:ext>
    </p:extLst>
  </p:cSld>
  <p:clrMapOvr>
    <a:masterClrMapping/>
  </p:clrMapOvr>
  <p:transition spd="med"/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2FDC978C-0E0B-93A3-AF7F-B661A655AF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ρόγραμμα «Τεχνική Βοήθεια και Υποστήριξη Δικαιούχων» π/υ 504 εκατ. € 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9BF81A96-EE50-C4AF-F3BA-69A88D506848}"/>
              </a:ext>
            </a:extLst>
          </p:cNvPr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l-GR" dirty="0">
                <a:sym typeface="Helvetica Neue"/>
              </a:rPr>
              <a:t>Κομβικός ρόλος στην έγκαιρη και αποτελεσματική υλοποίηση παρεμβάσεων υψηλής ποιότητας</a:t>
            </a:r>
          </a:p>
          <a:p>
            <a:r>
              <a:rPr lang="el-GR" dirty="0">
                <a:sym typeface="Helvetica Neue"/>
              </a:rPr>
              <a:t>Κλασικές παρεμβάσεις οριζοντίου χαρακτήρα που συμπληρώνουν  τις δράσεις Τεχνικής Βοήθειας που αναλαμβάνονται στο πλαίσιο των Τομεακών και Περιφερειακών Προγραμμάτων</a:t>
            </a:r>
          </a:p>
          <a:p>
            <a:r>
              <a:rPr lang="el-GR" b="1" dirty="0">
                <a:sym typeface="Helvetica Neue"/>
              </a:rPr>
              <a:t>Βελτίωση της διοικητικής ικανότητας επιλεγμένων και σημαντικών για την υλοποίηση δικαιούχων, μέσω επιπλέον πόρων ύψους 100 εκ € καθαρών </a:t>
            </a:r>
            <a:r>
              <a:rPr lang="el-GR" b="1" dirty="0" err="1">
                <a:sym typeface="Helvetica Neue"/>
              </a:rPr>
              <a:t>ενωσιακών</a:t>
            </a:r>
            <a:r>
              <a:rPr lang="el-GR" b="1" dirty="0">
                <a:sym typeface="Helvetica Neue"/>
              </a:rPr>
              <a:t> πόρων  «πέραν της Τεχνικής Βοήθειας» </a:t>
            </a:r>
            <a:r>
              <a:rPr lang="en-US" b="1" dirty="0">
                <a:sym typeface="Helvetica Neue"/>
              </a:rPr>
              <a:t>(</a:t>
            </a:r>
            <a:r>
              <a:rPr lang="en-US" b="1" dirty="0">
                <a:solidFill>
                  <a:srgbClr val="075091"/>
                </a:solidFill>
                <a:sym typeface="Helvetica Neue"/>
              </a:rPr>
              <a:t>Capacity Building</a:t>
            </a:r>
            <a:r>
              <a:rPr lang="en-US" b="1" dirty="0">
                <a:solidFill>
                  <a:schemeClr val="tx1"/>
                </a:solidFill>
                <a:sym typeface="Helvetica Neue"/>
              </a:rPr>
              <a:t>)</a:t>
            </a:r>
            <a:endParaRPr lang="en-US" b="1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07753017"/>
      </p:ext>
    </p:extLst>
  </p:cSld>
  <p:clrMapOvr>
    <a:masterClrMapping/>
  </p:clrMapOvr>
  <p:transition spd="med"/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>
            <a:extLst>
              <a:ext uri="{FF2B5EF4-FFF2-40B4-BE49-F238E27FC236}">
                <a16:creationId xmlns:a16="http://schemas.microsoft.com/office/drawing/2014/main" id="{F35A848D-AB0B-3017-1D16-D3E3ECA093A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13 Περιφερειακά Προγράμματα συνολικού π/υ 8.066 εκατ. €</a:t>
            </a:r>
            <a:endParaRPr lang="en-US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616E1D85-91D1-134E-A664-17BD2237AC7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9551381"/>
              </p:ext>
            </p:extLst>
          </p:nvPr>
        </p:nvGraphicFramePr>
        <p:xfrm>
          <a:off x="1044074" y="2420054"/>
          <a:ext cx="8581190" cy="9081227"/>
        </p:xfrm>
        <a:graphic>
          <a:graphicData uri="http://schemas.openxmlformats.org/drawingml/2006/table">
            <a:tbl>
              <a:tblPr firstRow="1" bandRow="1">
                <a:tableStyleId>{69012ECD-51FC-41F1-AA8D-1B2483CD663E}</a:tableStyleId>
              </a:tblPr>
              <a:tblGrid>
                <a:gridCol w="5674424">
                  <a:extLst>
                    <a:ext uri="{9D8B030D-6E8A-4147-A177-3AD203B41FA5}">
                      <a16:colId xmlns:a16="http://schemas.microsoft.com/office/drawing/2014/main" val="1070012390"/>
                    </a:ext>
                  </a:extLst>
                </a:gridCol>
                <a:gridCol w="2906766">
                  <a:extLst>
                    <a:ext uri="{9D8B030D-6E8A-4147-A177-3AD203B41FA5}">
                      <a16:colId xmlns:a16="http://schemas.microsoft.com/office/drawing/2014/main" val="1169727690"/>
                    </a:ext>
                  </a:extLst>
                </a:gridCol>
              </a:tblGrid>
              <a:tr h="207835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ΠΕΡΙΦΕΡΕΙΑ</a:t>
                      </a:r>
                      <a:endParaRPr lang="en-US" sz="3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κατ. €</a:t>
                      </a:r>
                      <a:endParaRPr lang="en-US" sz="3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0631011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Ανατολικής Μακεδονίας &amp; Θράκης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39,1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396080234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Κεντρικής Μακεδονίας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440,1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1668531678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Θεσσαλίας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53,9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2323839651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Ηπείρου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6,0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236460630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Δυτικής Ελλάδας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628,4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132726655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Δυτικής Μακεδονίας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4,1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286356300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Στερεάς Ελλάδας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26,0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3952813096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Πελοποννήσου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10,1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223069563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Ιονίων Νήσων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7,6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54272826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Βορείου Αιγαίου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394,0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430616552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Κρήτης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564,5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3957822077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Αττικής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.617,0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60720206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 algn="l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Νοτίου Αιγαίου</a:t>
                      </a:r>
                      <a:endParaRPr lang="el-GR" sz="32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tc>
                  <a:txBody>
                    <a:bodyPr/>
                    <a:lstStyle/>
                    <a:p>
                      <a:pPr algn="r" rtl="0" fontAlgn="ctr"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u="none" strike="noStrike" dirty="0">
                          <a:solidFill>
                            <a:srgbClr val="075091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5,3</a:t>
                      </a:r>
                      <a:endParaRPr lang="el-GR" sz="3200" b="0" i="0" u="none" strike="noStrike" dirty="0">
                        <a:solidFill>
                          <a:srgbClr val="075091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9239" marR="9239" marT="9239" marB="0" anchor="ctr"/>
                </a:tc>
                <a:extLst>
                  <a:ext uri="{0D108BD9-81ED-4DB2-BD59-A6C34878D82A}">
                    <a16:rowId xmlns:a16="http://schemas.microsoft.com/office/drawing/2014/main" val="838930949"/>
                  </a:ext>
                </a:extLst>
              </a:tr>
              <a:tr h="370840">
                <a:tc>
                  <a:txBody>
                    <a:bodyPr/>
                    <a:lstStyle/>
                    <a:p>
                      <a:pPr>
                        <a:spcBef>
                          <a:spcPts val="600"/>
                        </a:spcBef>
                        <a:spcAft>
                          <a:spcPts val="600"/>
                        </a:spcAft>
                      </a:pPr>
                      <a:r>
                        <a:rPr lang="el-GR" sz="3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ΣΥΝΟΛΟ</a:t>
                      </a:r>
                      <a:endParaRPr lang="en-US" sz="32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0" marR="0" indent="0" algn="r" defTabSz="825512" rtl="0" fontAlgn="ctr" latinLnBrk="0">
                        <a:lnSpc>
                          <a:spcPct val="100000"/>
                        </a:lnSpc>
                        <a:spcBef>
                          <a:spcPts val="600"/>
                        </a:spcBef>
                        <a:spcAft>
                          <a:spcPts val="600"/>
                        </a:spcAft>
                        <a:buClrTx/>
                        <a:buSzTx/>
                        <a:buFontTx/>
                        <a:buNone/>
                        <a:tabLst/>
                      </a:pPr>
                      <a:r>
                        <a:rPr lang="en-US" sz="3200" b="0" u="none" strike="noStrike" cap="none" spc="0" baseline="0" dirty="0">
                          <a:ln>
                            <a:noFill/>
                          </a:ln>
                          <a:solidFill>
                            <a:srgbClr val="075091"/>
                          </a:solidFill>
                          <a:effectLst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Helvetica Light"/>
                        </a:rPr>
                        <a:t>8</a:t>
                      </a:r>
                      <a:r>
                        <a:rPr lang="el-GR" sz="3200" b="0" u="none" strike="noStrike" cap="none" spc="0" baseline="0" dirty="0">
                          <a:ln>
                            <a:noFill/>
                          </a:ln>
                          <a:solidFill>
                            <a:srgbClr val="075091"/>
                          </a:solidFill>
                          <a:effectLst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Helvetica Light"/>
                        </a:rPr>
                        <a:t>.</a:t>
                      </a:r>
                      <a:r>
                        <a:rPr lang="en-US" sz="3200" b="0" u="none" strike="noStrike" cap="none" spc="0" baseline="0" dirty="0">
                          <a:ln>
                            <a:noFill/>
                          </a:ln>
                          <a:solidFill>
                            <a:srgbClr val="075091"/>
                          </a:solidFill>
                          <a:effectLst/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Helvetica Light"/>
                        </a:rPr>
                        <a:t>066,1</a:t>
                      </a:r>
                      <a:endParaRPr lang="en-US" sz="3200" b="0" i="0" u="none" strike="noStrike" cap="none" spc="0" baseline="0" dirty="0">
                        <a:ln>
                          <a:noFill/>
                        </a:ln>
                        <a:solidFill>
                          <a:srgbClr val="075091"/>
                        </a:solidFill>
                        <a:effectLst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Helvetica Light"/>
                      </a:endParaRPr>
                    </a:p>
                  </a:txBody>
                  <a:tcPr marL="3810" marR="3810" marT="3810" marB="0"/>
                </a:tc>
                <a:extLst>
                  <a:ext uri="{0D108BD9-81ED-4DB2-BD59-A6C34878D82A}">
                    <a16:rowId xmlns:a16="http://schemas.microsoft.com/office/drawing/2014/main" val="3658568635"/>
                  </a:ext>
                </a:extLst>
              </a:tr>
            </a:tbl>
          </a:graphicData>
        </a:graphic>
      </p:graphicFrame>
      <p:graphicFrame>
        <p:nvGraphicFramePr>
          <p:cNvPr id="7" name="Chart 6">
            <a:extLst>
              <a:ext uri="{FF2B5EF4-FFF2-40B4-BE49-F238E27FC236}">
                <a16:creationId xmlns:a16="http://schemas.microsoft.com/office/drawing/2014/main" id="{252CFDEB-BEC1-5A18-2298-37F70485F339}"/>
              </a:ext>
            </a:extLst>
          </p:cNvPr>
          <p:cNvGraphicFramePr>
            <a:graphicFrameLocks/>
          </p:cNvGraphicFramePr>
          <p:nvPr/>
        </p:nvGraphicFramePr>
        <p:xfrm>
          <a:off x="11177337" y="2696781"/>
          <a:ext cx="11938533" cy="81058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3357558782"/>
      </p:ext>
    </p:extLst>
  </p:cSld>
  <p:clrMapOvr>
    <a:masterClrMapping/>
  </p:clrMapOvr>
  <p:transition spd="med"/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087FDB06-0A52-504F-9F48-A4C332572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altLang="ko-KR" sz="6600" dirty="0">
                <a:latin typeface="Century Gothic" panose="020B0502020202020204" pitchFamily="34" charset="0"/>
              </a:rPr>
              <a:t>Αναμενόμενα Αποτελέσματα από τον  Προγραμματισμό των Πόρων 2021-2027</a:t>
            </a: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674574541"/>
      </p:ext>
    </p:extLst>
  </p:cSld>
  <p:clrMapOvr>
    <a:masterClrMapping/>
  </p:clrMapOvr>
  <p:transition spd="med"/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Τίτλος 3">
            <a:extLst>
              <a:ext uri="{FF2B5EF4-FFF2-40B4-BE49-F238E27FC236}">
                <a16:creationId xmlns:a16="http://schemas.microsoft.com/office/drawing/2014/main" id="{B2FA7148-B9F9-724E-AF8F-0C400034B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Ανταγωνιστικότητα – Έρευνα &amp; Καινοτομία – Δεξιότητες Εργαζομένων</a:t>
            </a:r>
          </a:p>
        </p:txBody>
      </p:sp>
      <p:sp>
        <p:nvSpPr>
          <p:cNvPr id="65" name="Ορθογώνιο 64"/>
          <p:cNvSpPr/>
          <p:nvPr/>
        </p:nvSpPr>
        <p:spPr>
          <a:xfrm>
            <a:off x="2353496" y="8547856"/>
            <a:ext cx="496170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.000 νέες θέσεις εργασίας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6" name="Ορθογώνιο 65"/>
          <p:cNvSpPr/>
          <p:nvPr/>
        </p:nvSpPr>
        <p:spPr>
          <a:xfrm>
            <a:off x="2353496" y="10189425"/>
            <a:ext cx="496170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500 επιχειρήσεις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εισάγουν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αινοτομίες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Ορθογώνιο 66"/>
          <p:cNvSpPr/>
          <p:nvPr/>
        </p:nvSpPr>
        <p:spPr>
          <a:xfrm>
            <a:off x="2353496" y="4820056"/>
            <a:ext cx="496170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5.000 επιχειρήσεις     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 των οποίων </a:t>
            </a:r>
          </a:p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300 νέες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0" name="Ορθογώνιο 69"/>
          <p:cNvSpPr/>
          <p:nvPr/>
        </p:nvSpPr>
        <p:spPr>
          <a:xfrm>
            <a:off x="2353496" y="6866836"/>
            <a:ext cx="496170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Ιδιωτικά κεφάλαια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λέον των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,8 δις €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9" name="Ομάδα 8"/>
          <p:cNvGrpSpPr/>
          <p:nvPr/>
        </p:nvGrpSpPr>
        <p:grpSpPr>
          <a:xfrm>
            <a:off x="8613646" y="2417883"/>
            <a:ext cx="6473954" cy="8993829"/>
            <a:chOff x="8613646" y="2417883"/>
            <a:chExt cx="6473954" cy="8993829"/>
          </a:xfrm>
        </p:grpSpPr>
        <p:sp>
          <p:nvSpPr>
            <p:cNvPr id="71" name="Ορθογώνιο 70"/>
            <p:cNvSpPr/>
            <p:nvPr/>
          </p:nvSpPr>
          <p:spPr>
            <a:xfrm>
              <a:off x="8613648" y="2422214"/>
              <a:ext cx="6473952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Έρευνα και Καινοτομία</a:t>
              </a: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2" name="Ορθογώνιο 71"/>
            <p:cNvSpPr/>
            <p:nvPr/>
          </p:nvSpPr>
          <p:spPr>
            <a:xfrm>
              <a:off x="8613646" y="2417883"/>
              <a:ext cx="6473954" cy="8993829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73" name="Εικόνα 72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1185198" y="3175711"/>
              <a:ext cx="1260000" cy="1260000"/>
            </a:xfrm>
            <a:prstGeom prst="rect">
              <a:avLst/>
            </a:prstGeom>
          </p:spPr>
        </p:pic>
      </p:grpSp>
      <p:sp>
        <p:nvSpPr>
          <p:cNvPr id="74" name="Ορθογώνιο 73"/>
          <p:cNvSpPr/>
          <p:nvPr/>
        </p:nvSpPr>
        <p:spPr>
          <a:xfrm>
            <a:off x="8668512" y="5030516"/>
            <a:ext cx="6419088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6.500 επιχειρήσεις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5" name="Ορθογώνιο 74"/>
          <p:cNvSpPr/>
          <p:nvPr/>
        </p:nvSpPr>
        <p:spPr>
          <a:xfrm>
            <a:off x="8613648" y="6244372"/>
            <a:ext cx="6473952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70 ερευνητικοί φορείς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αι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.200 επιχειρήσεις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θα συμμετέχουν σε κοινά ερευνητικά έργα</a:t>
            </a:r>
          </a:p>
        </p:txBody>
      </p:sp>
      <p:sp>
        <p:nvSpPr>
          <p:cNvPr id="76" name="Ορθογώνιο 75"/>
          <p:cNvSpPr/>
          <p:nvPr/>
        </p:nvSpPr>
        <p:spPr>
          <a:xfrm>
            <a:off x="8650224" y="8672084"/>
            <a:ext cx="641908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.925 νέες ερευνητικές θέσεις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ε ερευνητικές εγκαταστάσεις</a:t>
            </a:r>
          </a:p>
        </p:txBody>
      </p:sp>
      <p:sp>
        <p:nvSpPr>
          <p:cNvPr id="77" name="Ορθογώνιο 76"/>
          <p:cNvSpPr/>
          <p:nvPr/>
        </p:nvSpPr>
        <p:spPr>
          <a:xfrm>
            <a:off x="8668512" y="10150891"/>
            <a:ext cx="6400800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υποβληθούν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40 αιτήσεις για διπλώματα ευρεσιτεχνίας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8" name="Ορθογώνιο 77"/>
          <p:cNvSpPr/>
          <p:nvPr/>
        </p:nvSpPr>
        <p:spPr>
          <a:xfrm>
            <a:off x="16258033" y="5012400"/>
            <a:ext cx="6199631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.300 ΜΜΕ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επενδύσουν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ε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εξιότητες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για έξυπνη εξειδίκευση, βιομηχανική μετάβαση και επιχειρηματικότητα</a:t>
            </a:r>
          </a:p>
        </p:txBody>
      </p:sp>
      <p:grpSp>
        <p:nvGrpSpPr>
          <p:cNvPr id="8" name="Ομάδα 7"/>
          <p:cNvGrpSpPr/>
          <p:nvPr/>
        </p:nvGrpSpPr>
        <p:grpSpPr>
          <a:xfrm>
            <a:off x="16258032" y="2417883"/>
            <a:ext cx="6199632" cy="8993829"/>
            <a:chOff x="16258032" y="2417883"/>
            <a:chExt cx="6199632" cy="8993829"/>
          </a:xfrm>
        </p:grpSpPr>
        <p:grpSp>
          <p:nvGrpSpPr>
            <p:cNvPr id="7" name="Ομάδα 6"/>
            <p:cNvGrpSpPr/>
            <p:nvPr/>
          </p:nvGrpSpPr>
          <p:grpSpPr>
            <a:xfrm>
              <a:off x="16258032" y="2417883"/>
              <a:ext cx="6199632" cy="8993829"/>
              <a:chOff x="16258032" y="2417883"/>
              <a:chExt cx="6199632" cy="8993829"/>
            </a:xfrm>
          </p:grpSpPr>
          <p:sp>
            <p:nvSpPr>
              <p:cNvPr id="79" name="Ορθογώνιο 78"/>
              <p:cNvSpPr/>
              <p:nvPr/>
            </p:nvSpPr>
            <p:spPr>
              <a:xfrm>
                <a:off x="16258033" y="2422212"/>
                <a:ext cx="6199631" cy="584775"/>
              </a:xfrm>
              <a:prstGeom prst="rect">
                <a:avLst/>
              </a:prstGeom>
              <a:solidFill>
                <a:srgbClr val="21D6DF"/>
              </a:solidFill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Δεξιότητες</a:t>
                </a:r>
                <a:endPara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0" name="Ορθογώνιο 79"/>
              <p:cNvSpPr/>
              <p:nvPr/>
            </p:nvSpPr>
            <p:spPr>
              <a:xfrm>
                <a:off x="16258032" y="2417883"/>
                <a:ext cx="6199632" cy="8993829"/>
              </a:xfrm>
              <a:prstGeom prst="rect">
                <a:avLst/>
              </a:prstGeom>
              <a:noFill/>
              <a:ln w="25400" cap="flat" cmpd="sng" algn="ctr">
                <a:solidFill>
                  <a:srgbClr val="21D6D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81" name="Εικόνα 8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8829871" y="3264929"/>
              <a:ext cx="1440000" cy="1440000"/>
            </a:xfrm>
            <a:prstGeom prst="rect">
              <a:avLst/>
            </a:prstGeom>
          </p:spPr>
        </p:pic>
      </p:grpSp>
      <p:grpSp>
        <p:nvGrpSpPr>
          <p:cNvPr id="2" name="Ομάδα 1"/>
          <p:cNvGrpSpPr/>
          <p:nvPr/>
        </p:nvGrpSpPr>
        <p:grpSpPr>
          <a:xfrm>
            <a:off x="2353496" y="2417883"/>
            <a:ext cx="4961704" cy="8993829"/>
            <a:chOff x="2353496" y="2417883"/>
            <a:chExt cx="4961704" cy="8993829"/>
          </a:xfrm>
        </p:grpSpPr>
        <p:sp>
          <p:nvSpPr>
            <p:cNvPr id="68" name="Ορθογώνιο 67"/>
            <p:cNvSpPr/>
            <p:nvPr/>
          </p:nvSpPr>
          <p:spPr>
            <a:xfrm>
              <a:off x="2353496" y="2422212"/>
              <a:ext cx="4961704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Επιχειρηματικότητα</a:t>
              </a:r>
              <a:endParaRPr kumimoji="0" lang="en-US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69" name="Ορθογώνιο 68"/>
            <p:cNvSpPr/>
            <p:nvPr/>
          </p:nvSpPr>
          <p:spPr>
            <a:xfrm>
              <a:off x="2353496" y="2417883"/>
              <a:ext cx="4961704" cy="8993829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64" name="Picture 24">
              <a:extLst>
                <a:ext uri="{FF2B5EF4-FFF2-40B4-BE49-F238E27FC236}">
                  <a16:creationId xmlns:a16="http://schemas.microsoft.com/office/drawing/2014/main" id="{232F6C18-72B4-35AC-B865-6351C3A60380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4156490" y="3179637"/>
              <a:ext cx="1355716" cy="1260000"/>
            </a:xfrm>
            <a:prstGeom prst="rect">
              <a:avLst/>
            </a:prstGeom>
          </p:spPr>
        </p:pic>
      </p:grpSp>
      <p:sp>
        <p:nvSpPr>
          <p:cNvPr id="24" name="Ορθογώνιο 23"/>
          <p:cNvSpPr/>
          <p:nvPr/>
        </p:nvSpPr>
        <p:spPr>
          <a:xfrm>
            <a:off x="16258032" y="8001253"/>
            <a:ext cx="6199632" cy="304698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50</a:t>
            </a:r>
            <a:r>
              <a:rPr lang="en-US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</a:t>
            </a:r>
            <a:r>
              <a:rPr lang="en-US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0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εργαζόμενοι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υποστηρίζονται για να αναβαθμίσουν τις 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παγγελματικές τους δεξιότητες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αι να 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σαρμοσθούν στις αλλαγές</a:t>
            </a:r>
            <a:endParaRPr lang="el-GR" sz="3200" b="1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5996800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7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6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6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7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7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7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7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7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5" grpId="0"/>
      <p:bldP spid="66" grpId="0"/>
      <p:bldP spid="67" grpId="0"/>
      <p:bldP spid="70" grpId="0"/>
      <p:bldP spid="74" grpId="0"/>
      <p:bldP spid="75" grpId="0"/>
      <p:bldP spid="76" grpId="0"/>
      <p:bldP spid="77" grpId="0"/>
      <p:bldP spid="78" grpId="0"/>
      <p:bldP spid="24" grpId="0"/>
    </p:bld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Τίτλος 3">
            <a:extLst>
              <a:ext uri="{FF2B5EF4-FFF2-40B4-BE49-F238E27FC236}">
                <a16:creationId xmlns:a16="http://schemas.microsoft.com/office/drawing/2014/main" id="{B2FA7148-B9F9-724E-AF8F-0C400034B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Ψηφιακός Μετασχηματισμός – Ψηφιακή Συνδεσιμότητα - Δεξιότητες</a:t>
            </a:r>
            <a:br>
              <a:rPr lang="el-GR" dirty="0"/>
            </a:br>
            <a:endParaRPr lang="el-GR" dirty="0"/>
          </a:p>
        </p:txBody>
      </p:sp>
      <p:sp>
        <p:nvSpPr>
          <p:cNvPr id="8" name="Ορθογώνιο 7"/>
          <p:cNvSpPr/>
          <p:nvPr/>
        </p:nvSpPr>
        <p:spPr>
          <a:xfrm>
            <a:off x="303804" y="5265077"/>
            <a:ext cx="834642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 2.200 επιχειρήσεις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ενισχυθούν για τον ψηφιακό μετασχηματισμό τους και την ανάπτυξη ψηφιακής καινοτομίας</a:t>
            </a:r>
          </a:p>
        </p:txBody>
      </p:sp>
      <p:sp>
        <p:nvSpPr>
          <p:cNvPr id="9" name="Ορθογώνιο 8"/>
          <p:cNvSpPr/>
          <p:nvPr/>
        </p:nvSpPr>
        <p:spPr>
          <a:xfrm>
            <a:off x="303804" y="7870696"/>
            <a:ext cx="834642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.000 ετήσιοι χρήστες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ψηφιακών υπηρεσιών/ προϊόντων/ διαδικασιών που αναπτύσσονται από επιχειρήσεις</a:t>
            </a:r>
          </a:p>
        </p:txBody>
      </p:sp>
      <p:sp>
        <p:nvSpPr>
          <p:cNvPr id="10" name="Ορθογώνιο 9"/>
          <p:cNvSpPr/>
          <p:nvPr/>
        </p:nvSpPr>
        <p:spPr>
          <a:xfrm>
            <a:off x="9071288" y="5579875"/>
            <a:ext cx="7150168" cy="32778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70.000 επιπλέον κατοικίες </a:t>
            </a: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amp; </a:t>
            </a: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98.000 επιπλέον επιχειρήσεις </a:t>
            </a: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</a:pP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αποκτήσουν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όσβαση σε </a:t>
            </a:r>
            <a:r>
              <a:rPr lang="el-GR" sz="3200" b="1" kern="12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υρυζωνικές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υπηρεσίες πολύ υψηλής χωρητικότητας 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Ορθογώνιο 12"/>
          <p:cNvSpPr/>
          <p:nvPr/>
        </p:nvSpPr>
        <p:spPr>
          <a:xfrm>
            <a:off x="323528" y="10296120"/>
            <a:ext cx="83266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,27 εκατ. ετήσιοι χρήστες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ημόσιων ψηφιακών υπηρεσιών</a:t>
            </a:r>
          </a:p>
        </p:txBody>
      </p:sp>
      <p:grpSp>
        <p:nvGrpSpPr>
          <p:cNvPr id="2" name="Ομάδα 1"/>
          <p:cNvGrpSpPr/>
          <p:nvPr/>
        </p:nvGrpSpPr>
        <p:grpSpPr>
          <a:xfrm>
            <a:off x="323527" y="2415077"/>
            <a:ext cx="8326697" cy="8996635"/>
            <a:chOff x="3286183" y="2415077"/>
            <a:chExt cx="8326697" cy="8996635"/>
          </a:xfrm>
        </p:grpSpPr>
        <p:sp>
          <p:nvSpPr>
            <p:cNvPr id="6" name="Ορθογώνιο 5"/>
            <p:cNvSpPr/>
            <p:nvPr/>
          </p:nvSpPr>
          <p:spPr>
            <a:xfrm>
              <a:off x="3286184" y="2415077"/>
              <a:ext cx="8326696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 Ψηφιακός Μετασχηματισμός</a:t>
              </a:r>
            </a:p>
          </p:txBody>
        </p:sp>
        <p:sp>
          <p:nvSpPr>
            <p:cNvPr id="14" name="Ορθογώνιο 13"/>
            <p:cNvSpPr/>
            <p:nvPr/>
          </p:nvSpPr>
          <p:spPr>
            <a:xfrm>
              <a:off x="3286183" y="2417883"/>
              <a:ext cx="8326697" cy="8993829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2" name="Εικόνα 11"/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6719670" y="3293721"/>
              <a:ext cx="1440000" cy="1440000"/>
            </a:xfrm>
            <a:prstGeom prst="rect">
              <a:avLst/>
            </a:prstGeom>
          </p:spPr>
        </p:pic>
      </p:grpSp>
      <p:grpSp>
        <p:nvGrpSpPr>
          <p:cNvPr id="5" name="Ομάδα 4"/>
          <p:cNvGrpSpPr/>
          <p:nvPr/>
        </p:nvGrpSpPr>
        <p:grpSpPr>
          <a:xfrm>
            <a:off x="9071288" y="2423979"/>
            <a:ext cx="7150168" cy="8993829"/>
            <a:chOff x="13862744" y="2423979"/>
            <a:chExt cx="7150168" cy="8993829"/>
          </a:xfrm>
        </p:grpSpPr>
        <p:grpSp>
          <p:nvGrpSpPr>
            <p:cNvPr id="3" name="Ομάδα 2"/>
            <p:cNvGrpSpPr/>
            <p:nvPr/>
          </p:nvGrpSpPr>
          <p:grpSpPr>
            <a:xfrm>
              <a:off x="13862744" y="2423979"/>
              <a:ext cx="7150168" cy="8993829"/>
              <a:chOff x="13862744" y="2423979"/>
              <a:chExt cx="7150168" cy="8993829"/>
            </a:xfrm>
          </p:grpSpPr>
          <p:sp>
            <p:nvSpPr>
              <p:cNvPr id="7" name="Ορθογώνιο 6"/>
              <p:cNvSpPr/>
              <p:nvPr/>
            </p:nvSpPr>
            <p:spPr>
              <a:xfrm>
                <a:off x="13862744" y="2442196"/>
                <a:ext cx="7150168" cy="584775"/>
              </a:xfrm>
              <a:prstGeom prst="rect">
                <a:avLst/>
              </a:prstGeom>
              <a:solidFill>
                <a:srgbClr val="21D6DF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lvl="0" defTabSz="914400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l-GR" sz="3200" b="1" kern="12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Ψηφιακή Συνδεσιμότητα</a:t>
                </a:r>
                <a:endPara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15" name="Ορθογώνιο 14"/>
              <p:cNvSpPr/>
              <p:nvPr/>
            </p:nvSpPr>
            <p:spPr>
              <a:xfrm>
                <a:off x="13862744" y="2423979"/>
                <a:ext cx="7150168" cy="8993829"/>
              </a:xfrm>
              <a:prstGeom prst="rect">
                <a:avLst/>
              </a:prstGeom>
              <a:noFill/>
              <a:ln w="25400" cap="flat" cmpd="sng" algn="ctr">
                <a:solidFill>
                  <a:srgbClr val="21D6D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11" name="Εικόνα 10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6897828" y="3419051"/>
              <a:ext cx="1260000" cy="1260000"/>
            </a:xfrm>
            <a:prstGeom prst="rect">
              <a:avLst/>
            </a:prstGeom>
          </p:spPr>
        </p:pic>
      </p:grpSp>
      <p:sp>
        <p:nvSpPr>
          <p:cNvPr id="22" name="Ορθογώνιο 21"/>
          <p:cNvSpPr/>
          <p:nvPr/>
        </p:nvSpPr>
        <p:spPr>
          <a:xfrm>
            <a:off x="16666904" y="5610641"/>
            <a:ext cx="715016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tabLst>
                <a:tab pos="7351713" algn="l"/>
              </a:tabLst>
              <a:defRPr/>
            </a:pP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534.000 πολίτες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αμένεται να ωφεληθούν από δράσεις προαγωγής των ψηφιακών τους δεξιοτήτων</a:t>
            </a:r>
          </a:p>
        </p:txBody>
      </p:sp>
      <p:sp>
        <p:nvSpPr>
          <p:cNvPr id="23" name="Ορθογώνιο 22"/>
          <p:cNvSpPr/>
          <p:nvPr/>
        </p:nvSpPr>
        <p:spPr>
          <a:xfrm>
            <a:off x="16666904" y="8280439"/>
            <a:ext cx="7150168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tabLst>
                <a:tab pos="7351713" algn="l"/>
              </a:tabLst>
              <a:defRPr/>
            </a:pP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73.800 στελέχη της δημόσιας διοίκησης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υποστηριχθούν για την αναβάθμιση των ψηφιακών δεξιοτήτων τους</a:t>
            </a:r>
          </a:p>
        </p:txBody>
      </p:sp>
      <p:grpSp>
        <p:nvGrpSpPr>
          <p:cNvPr id="25" name="Ομάδα 24"/>
          <p:cNvGrpSpPr/>
          <p:nvPr/>
        </p:nvGrpSpPr>
        <p:grpSpPr>
          <a:xfrm>
            <a:off x="16666904" y="2411787"/>
            <a:ext cx="7150168" cy="8993829"/>
            <a:chOff x="16666904" y="2411787"/>
            <a:chExt cx="7150168" cy="8993829"/>
          </a:xfrm>
        </p:grpSpPr>
        <p:grpSp>
          <p:nvGrpSpPr>
            <p:cNvPr id="18" name="Ομάδα 17"/>
            <p:cNvGrpSpPr/>
            <p:nvPr/>
          </p:nvGrpSpPr>
          <p:grpSpPr>
            <a:xfrm>
              <a:off x="16666904" y="2411787"/>
              <a:ext cx="7150168" cy="8993829"/>
              <a:chOff x="13862744" y="2423979"/>
              <a:chExt cx="7150168" cy="8993829"/>
            </a:xfrm>
          </p:grpSpPr>
          <p:sp>
            <p:nvSpPr>
              <p:cNvPr id="20" name="Ορθογώνιο 19"/>
              <p:cNvSpPr/>
              <p:nvPr/>
            </p:nvSpPr>
            <p:spPr>
              <a:xfrm>
                <a:off x="13862744" y="2442196"/>
                <a:ext cx="7150168" cy="584775"/>
              </a:xfrm>
              <a:prstGeom prst="rect">
                <a:avLst/>
              </a:prstGeom>
              <a:solidFill>
                <a:srgbClr val="21D6DF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lvl="0" defTabSz="914400" fontAlgn="base" hangingPunct="1">
                  <a:spcBef>
                    <a:spcPct val="0"/>
                  </a:spcBef>
                  <a:spcAft>
                    <a:spcPct val="0"/>
                  </a:spcAft>
                  <a:defRPr/>
                </a:pPr>
                <a:r>
                  <a:rPr lang="el-GR" sz="3200" b="1" kern="12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Ψηφιακές Δεξιότητες</a:t>
                </a:r>
                <a:endParaRPr kumimoji="0" lang="en-US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21" name="Ορθογώνιο 20"/>
              <p:cNvSpPr/>
              <p:nvPr/>
            </p:nvSpPr>
            <p:spPr>
              <a:xfrm>
                <a:off x="13862744" y="2423979"/>
                <a:ext cx="7150168" cy="8993829"/>
              </a:xfrm>
              <a:prstGeom prst="rect">
                <a:avLst/>
              </a:prstGeom>
              <a:noFill/>
              <a:ln w="25400" cap="flat" cmpd="sng" algn="ctr">
                <a:solidFill>
                  <a:srgbClr val="21D6D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24" name="Εικόνα 23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9521988" y="3300674"/>
              <a:ext cx="1440000" cy="1440000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78192320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/>
      <p:bldP spid="9" grpId="0"/>
      <p:bldP spid="10" grpId="0"/>
      <p:bldP spid="13" grpId="0"/>
      <p:bldP spid="22" grpId="0"/>
      <p:bldP spid="23" grpId="0"/>
    </p:bld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087FDB06-0A52-504F-9F48-A4C332572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Συνοπτική Παρουσίαση ΕΣΠΑ 2021-2027</a:t>
            </a:r>
          </a:p>
        </p:txBody>
      </p:sp>
    </p:spTree>
    <p:extLst>
      <p:ext uri="{BB962C8B-B14F-4D97-AF65-F5344CB8AC3E}">
        <p14:creationId xmlns:p14="http://schemas.microsoft.com/office/powerpoint/2010/main" val="289233149"/>
      </p:ext>
    </p:extLst>
  </p:cSld>
  <p:clrMapOvr>
    <a:masterClrMapping/>
  </p:clrMapOvr>
  <p:transition spd="med"/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Τίτλος 3">
            <a:extLst>
              <a:ext uri="{FF2B5EF4-FFF2-40B4-BE49-F238E27FC236}">
                <a16:creationId xmlns:a16="http://schemas.microsoft.com/office/drawing/2014/main" id="{B2FA7148-B9F9-724E-AF8F-0C400034B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Κλιματική Αλλαγή - Οικοσύστημα - Ενεργειακή Αποδοτικότητα - ΑΠΕ</a:t>
            </a:r>
            <a:br>
              <a:rPr lang="el-GR" dirty="0"/>
            </a:br>
            <a:br>
              <a:rPr lang="el-GR" dirty="0"/>
            </a:br>
            <a:endParaRPr lang="el-GR" dirty="0"/>
          </a:p>
        </p:txBody>
      </p:sp>
      <p:sp>
        <p:nvSpPr>
          <p:cNvPr id="6" name="Ορθογώνιο 5"/>
          <p:cNvSpPr/>
          <p:nvPr/>
        </p:nvSpPr>
        <p:spPr>
          <a:xfrm>
            <a:off x="146305" y="4824770"/>
            <a:ext cx="706426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0 εκατ. €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ε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συστήματα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παρακολούθησης, ετοιμότητας, προειδοποίησης και ανταπόκρισης σε περίπτωση φυσικών καταστροφών και κινδύνων</a:t>
            </a:r>
          </a:p>
        </p:txBody>
      </p:sp>
      <p:sp>
        <p:nvSpPr>
          <p:cNvPr id="7" name="Ορθογώνιο 6"/>
          <p:cNvSpPr/>
          <p:nvPr/>
        </p:nvSpPr>
        <p:spPr>
          <a:xfrm>
            <a:off x="146305" y="9698526"/>
            <a:ext cx="696019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5,9 εκατ. άτομα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ωφεληθούν από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έτρα προστασίας από ανεξέλεγκτες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υρκαγιές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Ορθογώνιο 7"/>
          <p:cNvSpPr/>
          <p:nvPr/>
        </p:nvSpPr>
        <p:spPr>
          <a:xfrm>
            <a:off x="146305" y="7910141"/>
            <a:ext cx="709182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n-US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4,4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ατ. άτομα</a:t>
            </a:r>
            <a:r>
              <a:rPr lang="en-US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ωφεληθούν από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τιπλημμυρικά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έργα</a:t>
            </a:r>
          </a:p>
        </p:txBody>
      </p:sp>
      <p:sp>
        <p:nvSpPr>
          <p:cNvPr id="10" name="Ορθογώνιο 9"/>
          <p:cNvSpPr/>
          <p:nvPr/>
        </p:nvSpPr>
        <p:spPr>
          <a:xfrm>
            <a:off x="7155703" y="5429586"/>
            <a:ext cx="4473381" cy="475514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,3 εκατ. τόνοι αποβλήτων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</a:t>
            </a:r>
            <a:r>
              <a:rPr lang="en-US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ακυκλώνονται ετησίως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 των οποίων </a:t>
            </a:r>
          </a:p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,88 εκατ. τόνοι           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είναι διαθέσιμοι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για αξιοποίηση ως πρώτες ύλες</a:t>
            </a:r>
            <a:endParaRPr lang="en-US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0" name="Ορθογώνιο 19"/>
          <p:cNvSpPr/>
          <p:nvPr/>
        </p:nvSpPr>
        <p:spPr>
          <a:xfrm>
            <a:off x="11778089" y="6422068"/>
            <a:ext cx="654012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είωση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τήσιας κατανάλωσης πρωτογενούς ενέργειας κατά 3,15 εκατ. </a:t>
            </a:r>
            <a:r>
              <a:rPr lang="en-US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</a:t>
            </a:r>
            <a:r>
              <a:rPr lang="el-GR" sz="3200" b="1" kern="12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Ορθογώνιο 20"/>
          <p:cNvSpPr/>
          <p:nvPr/>
        </p:nvSpPr>
        <p:spPr>
          <a:xfrm>
            <a:off x="11674017" y="9729414"/>
            <a:ext cx="664419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Μείωση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τήσιας κατανάλωσης πρωτογενούς ενέργειας κατά 65.000 </a:t>
            </a:r>
            <a:r>
              <a:rPr lang="en-US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Wh/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έτος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2" name="Ορθογώνιο 21"/>
          <p:cNvSpPr/>
          <p:nvPr/>
        </p:nvSpPr>
        <p:spPr>
          <a:xfrm>
            <a:off x="18605169" y="5197272"/>
            <a:ext cx="5608144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ύξηση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της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υναμικότητας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αραγωγής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ανανεώσιμης ενέργειας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ατά 214 MW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Ορθογώνιο 22"/>
          <p:cNvSpPr/>
          <p:nvPr/>
        </p:nvSpPr>
        <p:spPr>
          <a:xfrm>
            <a:off x="18532017" y="7452368"/>
            <a:ext cx="568129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5 κοινότητες ανανεώσιμων πηγών ενέργειας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6" name="Ορθογώνιο 25"/>
          <p:cNvSpPr/>
          <p:nvPr/>
        </p:nvSpPr>
        <p:spPr>
          <a:xfrm>
            <a:off x="18532015" y="9322208"/>
            <a:ext cx="568129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 hangingPunct="1">
              <a:spcBef>
                <a:spcPct val="0"/>
              </a:spcBef>
              <a:spcAft>
                <a:spcPct val="0"/>
              </a:spcAft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ύξηση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ης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συνολικής παραγόμενης ενέργειας από ανανεώσιμες πηγέ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ς κατά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48.000 </a:t>
            </a:r>
            <a:r>
              <a:rPr lang="en-US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Wh/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έτος </a:t>
            </a: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" name="Ομάδα 4"/>
          <p:cNvGrpSpPr/>
          <p:nvPr/>
        </p:nvGrpSpPr>
        <p:grpSpPr>
          <a:xfrm>
            <a:off x="146304" y="2468345"/>
            <a:ext cx="6960193" cy="8997993"/>
            <a:chOff x="146304" y="2468345"/>
            <a:chExt cx="6960193" cy="8997993"/>
          </a:xfrm>
        </p:grpSpPr>
        <p:sp>
          <p:nvSpPr>
            <p:cNvPr id="11" name="Ορθογώνιο 10"/>
            <p:cNvSpPr/>
            <p:nvPr/>
          </p:nvSpPr>
          <p:spPr>
            <a:xfrm>
              <a:off x="146305" y="2483776"/>
              <a:ext cx="6960192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Πρόληψη κινδύνου καταστροφών</a:t>
              </a:r>
            </a:p>
          </p:txBody>
        </p:sp>
        <p:sp>
          <p:nvSpPr>
            <p:cNvPr id="12" name="Ορθογώνιο 11"/>
            <p:cNvSpPr/>
            <p:nvPr/>
          </p:nvSpPr>
          <p:spPr>
            <a:xfrm>
              <a:off x="146304" y="2468345"/>
              <a:ext cx="6960193" cy="8997993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9" name="Picture 2" descr="World environment day background. Save the earth. Green day. Sketch for your design">
              <a:extLst>
                <a:ext uri="{FF2B5EF4-FFF2-40B4-BE49-F238E27FC236}">
                  <a16:creationId xmlns:a16="http://schemas.microsoft.com/office/drawing/2014/main" id="{991AA343-590C-E517-2891-6B85DAE806E9}"/>
                </a:ext>
              </a:extLst>
            </p:cNvPr>
            <p:cNvPicPr>
              <a:picLocks noChangeAspect="1" noChangeArrowheads="1"/>
            </p:cNvPicPr>
            <p:nvPr/>
          </p:nvPicPr>
          <p:blipFill rotWithShape="1">
            <a:blip r:embed="rId3" cstate="print">
              <a:clrChange>
                <a:clrFrom>
                  <a:srgbClr val="FFFFFF"/>
                </a:clrFrom>
                <a:clrTo>
                  <a:srgbClr val="FFFFFF">
                    <a:alpha val="0"/>
                  </a:srgbClr>
                </a:clrTo>
              </a:clrChange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4569"/>
            <a:stretch/>
          </p:blipFill>
          <p:spPr bwMode="auto">
            <a:xfrm>
              <a:off x="2945518" y="3083982"/>
              <a:ext cx="1442909" cy="1512000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9" name="Ομάδα 28"/>
          <p:cNvGrpSpPr/>
          <p:nvPr/>
        </p:nvGrpSpPr>
        <p:grpSpPr>
          <a:xfrm>
            <a:off x="7219841" y="2468347"/>
            <a:ext cx="4326160" cy="8997991"/>
            <a:chOff x="7219841" y="2468347"/>
            <a:chExt cx="4326160" cy="8997991"/>
          </a:xfrm>
        </p:grpSpPr>
        <p:sp>
          <p:nvSpPr>
            <p:cNvPr id="14" name="Ορθογώνιο 13"/>
            <p:cNvSpPr/>
            <p:nvPr/>
          </p:nvSpPr>
          <p:spPr>
            <a:xfrm>
              <a:off x="7219841" y="2483778"/>
              <a:ext cx="4326160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Κυκλική Οικονομία</a:t>
              </a:r>
            </a:p>
          </p:txBody>
        </p:sp>
        <p:sp>
          <p:nvSpPr>
            <p:cNvPr id="15" name="Ορθογώνιο 14"/>
            <p:cNvSpPr/>
            <p:nvPr/>
          </p:nvSpPr>
          <p:spPr>
            <a:xfrm>
              <a:off x="7219841" y="2468347"/>
              <a:ext cx="4326160" cy="8997991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3" name="Εικόνα 12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760257" y="3199218"/>
              <a:ext cx="1260000" cy="1260000"/>
            </a:xfrm>
            <a:prstGeom prst="rect">
              <a:avLst/>
            </a:prstGeom>
          </p:spPr>
        </p:pic>
      </p:grpSp>
      <p:grpSp>
        <p:nvGrpSpPr>
          <p:cNvPr id="30" name="Ομάδα 29"/>
          <p:cNvGrpSpPr/>
          <p:nvPr/>
        </p:nvGrpSpPr>
        <p:grpSpPr>
          <a:xfrm>
            <a:off x="11674017" y="2464702"/>
            <a:ext cx="6644199" cy="9001873"/>
            <a:chOff x="11674017" y="2464702"/>
            <a:chExt cx="6644199" cy="9001873"/>
          </a:xfrm>
        </p:grpSpPr>
        <p:sp>
          <p:nvSpPr>
            <p:cNvPr id="18" name="Ορθογώνιο 17"/>
            <p:cNvSpPr/>
            <p:nvPr/>
          </p:nvSpPr>
          <p:spPr>
            <a:xfrm>
              <a:off x="11674017" y="2480384"/>
              <a:ext cx="6644199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Ενεργειακή Αποδοτικότητα</a:t>
              </a:r>
            </a:p>
          </p:txBody>
        </p:sp>
        <p:sp>
          <p:nvSpPr>
            <p:cNvPr id="19" name="Ορθογώνιο 18"/>
            <p:cNvSpPr/>
            <p:nvPr/>
          </p:nvSpPr>
          <p:spPr>
            <a:xfrm>
              <a:off x="11674017" y="2464702"/>
              <a:ext cx="6644199" cy="9001873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4" name="Picture 14" descr="Icon&#10;&#10;Description automatically generated">
              <a:extLst>
                <a:ext uri="{FF2B5EF4-FFF2-40B4-BE49-F238E27FC236}">
                  <a16:creationId xmlns:a16="http://schemas.microsoft.com/office/drawing/2014/main" id="{67CAA9A8-CE77-727B-0DCB-AD6BED91EDC7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189852" y="3248639"/>
              <a:ext cx="1260000" cy="1260000"/>
            </a:xfrm>
            <a:prstGeom prst="rect">
              <a:avLst/>
            </a:prstGeom>
          </p:spPr>
        </p:pic>
      </p:grpSp>
      <p:grpSp>
        <p:nvGrpSpPr>
          <p:cNvPr id="33" name="Ομάδα 32"/>
          <p:cNvGrpSpPr/>
          <p:nvPr/>
        </p:nvGrpSpPr>
        <p:grpSpPr>
          <a:xfrm>
            <a:off x="18495440" y="2464702"/>
            <a:ext cx="5717872" cy="9001873"/>
            <a:chOff x="18495440" y="2464702"/>
            <a:chExt cx="5717872" cy="9001873"/>
          </a:xfrm>
        </p:grpSpPr>
        <p:sp>
          <p:nvSpPr>
            <p:cNvPr id="16" name="Ορθογώνιο 15"/>
            <p:cNvSpPr/>
            <p:nvPr/>
          </p:nvSpPr>
          <p:spPr>
            <a:xfrm>
              <a:off x="18495440" y="2480384"/>
              <a:ext cx="5717872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rPr>
                <a:t>ΑΠΕ</a:t>
              </a:r>
            </a:p>
          </p:txBody>
        </p:sp>
        <p:sp>
          <p:nvSpPr>
            <p:cNvPr id="17" name="Ορθογώνιο 16"/>
            <p:cNvSpPr/>
            <p:nvPr/>
          </p:nvSpPr>
          <p:spPr>
            <a:xfrm>
              <a:off x="18495440" y="2464702"/>
              <a:ext cx="5717872" cy="9001873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25" name="Εικόνα 2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0756180" y="3248639"/>
              <a:ext cx="1260000" cy="1260000"/>
            </a:xfrm>
            <a:prstGeom prst="rect">
              <a:avLst/>
            </a:prstGeom>
          </p:spPr>
        </p:pic>
      </p:grpSp>
      <p:grpSp>
        <p:nvGrpSpPr>
          <p:cNvPr id="31" name="Ομάδα 30"/>
          <p:cNvGrpSpPr/>
          <p:nvPr/>
        </p:nvGrpSpPr>
        <p:grpSpPr>
          <a:xfrm>
            <a:off x="11683948" y="4791232"/>
            <a:ext cx="6641152" cy="1569660"/>
            <a:chOff x="11683948" y="4791232"/>
            <a:chExt cx="6641152" cy="1569660"/>
          </a:xfrm>
        </p:grpSpPr>
        <p:sp>
          <p:nvSpPr>
            <p:cNvPr id="2" name="Ορθογώνιο 1"/>
            <p:cNvSpPr/>
            <p:nvPr/>
          </p:nvSpPr>
          <p:spPr>
            <a:xfrm>
              <a:off x="11683948" y="4791232"/>
              <a:ext cx="6641152" cy="15696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defTabSz="914400" hangingPunct="1">
                <a:spcBef>
                  <a:spcPts val="300"/>
                </a:spcBef>
                <a:spcAft>
                  <a:spcPts val="300"/>
                </a:spcAft>
                <a:buClr>
                  <a:srgbClr val="4BACC6"/>
                </a:buClr>
                <a:defRPr/>
              </a:pPr>
              <a:r>
                <a:rPr lang="el-GR" sz="3200" kern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νεργειακή αναβάθμιση &gt;</a:t>
              </a:r>
              <a:r>
                <a:rPr lang="el-GR" sz="3200" b="1" kern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52.000 κατοικιών</a:t>
              </a:r>
              <a:r>
                <a:rPr lang="el-GR" sz="3200" kern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και </a:t>
              </a:r>
              <a:r>
                <a:rPr lang="el-GR" sz="3200" b="1" kern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950.000 τ.μ. δημόσιων κτιρίων </a:t>
              </a:r>
              <a:endPara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Δεξί βέλος 26"/>
            <p:cNvSpPr/>
            <p:nvPr/>
          </p:nvSpPr>
          <p:spPr>
            <a:xfrm>
              <a:off x="16861536" y="5935078"/>
              <a:ext cx="530352" cy="270988"/>
            </a:xfrm>
            <a:prstGeom prst="rightArrow">
              <a:avLst/>
            </a:prstGeom>
            <a:solidFill>
              <a:srgbClr val="21D6DF"/>
            </a:solidFill>
            <a:ln w="12700" cap="flat">
              <a:solidFill>
                <a:srgbClr val="21D6DF"/>
              </a:solidFill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l-GR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  <p:grpSp>
        <p:nvGrpSpPr>
          <p:cNvPr id="32" name="Ομάδα 31"/>
          <p:cNvGrpSpPr/>
          <p:nvPr/>
        </p:nvGrpSpPr>
        <p:grpSpPr>
          <a:xfrm>
            <a:off x="11742428" y="8582431"/>
            <a:ext cx="6655165" cy="1077218"/>
            <a:chOff x="11742428" y="8582431"/>
            <a:chExt cx="6655165" cy="1077218"/>
          </a:xfrm>
        </p:grpSpPr>
        <p:sp>
          <p:nvSpPr>
            <p:cNvPr id="3" name="Ορθογώνιο 2"/>
            <p:cNvSpPr/>
            <p:nvPr/>
          </p:nvSpPr>
          <p:spPr>
            <a:xfrm>
              <a:off x="11742428" y="8582431"/>
              <a:ext cx="6655165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r>
                <a:rPr lang="el-GR" sz="3200" kern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Ενεργειακή αναβάθμιση </a:t>
              </a:r>
              <a:r>
                <a:rPr lang="el-GR" sz="3200" b="1" kern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330 επιχειρήσεων</a:t>
              </a:r>
            </a:p>
          </p:txBody>
        </p:sp>
        <p:sp>
          <p:nvSpPr>
            <p:cNvPr id="28" name="Δεξί βέλος 27"/>
            <p:cNvSpPr/>
            <p:nvPr/>
          </p:nvSpPr>
          <p:spPr>
            <a:xfrm>
              <a:off x="16575024" y="9233014"/>
              <a:ext cx="530352" cy="270988"/>
            </a:xfrm>
            <a:prstGeom prst="rightArrow">
              <a:avLst/>
            </a:prstGeom>
            <a:solidFill>
              <a:srgbClr val="21D6DF"/>
            </a:solidFill>
            <a:ln w="12700" cap="flat">
              <a:solidFill>
                <a:srgbClr val="21D6DF"/>
              </a:solidFill>
              <a:miter lim="400000"/>
            </a:ln>
            <a:effectLst>
              <a:outerShdw blurRad="38100" dist="25400" dir="5400000" rotWithShape="0">
                <a:srgbClr val="000000">
                  <a:alpha val="50000"/>
                </a:srgbClr>
              </a:outerShdw>
            </a:effectLst>
            <a:sp3d/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none"/>
          </p:style>
          <p:txBody>
            <a:bodyPr rot="0" spcFirstLastPara="1" vertOverflow="overflow" horzOverflow="overflow" vert="horz" wrap="square" lIns="50800" tIns="50800" rIns="50800" bIns="50800" numCol="1" spcCol="38100" rtlCol="0" anchor="ctr">
              <a:spAutoFit/>
            </a:bodyPr>
            <a:lstStyle/>
            <a:p>
              <a:pPr marL="0" marR="0" indent="0" algn="ctr" defTabSz="825500" rtl="0" fontAlgn="auto" latinLnBrk="0" hangingPunct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</a:pPr>
              <a:endParaRPr kumimoji="0" lang="el-GR" sz="3200" b="0" i="0" u="none" strike="noStrike" cap="none" spc="0" normalizeH="0" baseline="0">
                <a:ln>
                  <a:noFill/>
                </a:ln>
                <a:solidFill>
                  <a:srgbClr val="FFFFFF"/>
                </a:solidFill>
                <a:effectLst/>
                <a:uFillTx/>
                <a:latin typeface="+mn-lt"/>
                <a:ea typeface="+mn-ea"/>
                <a:cs typeface="+mn-cs"/>
                <a:sym typeface="Helvetica Light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559158548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3" fill="hold">
                      <p:stCondLst>
                        <p:cond delay="indefinite"/>
                      </p:stCondLst>
                      <p:childTnLst>
                        <p:par>
                          <p:cTn id="54" fill="hold">
                            <p:stCondLst>
                              <p:cond delay="0"/>
                            </p:stCondLst>
                            <p:childTnLst>
                              <p:par>
                                <p:cTn id="5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7" dur="500"/>
                                        <p:tgtEl>
                                          <p:spTgt spid="2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8" fill="hold">
                      <p:stCondLst>
                        <p:cond delay="indefinite"/>
                      </p:stCondLst>
                      <p:childTnLst>
                        <p:par>
                          <p:cTn id="59" fill="hold">
                            <p:stCondLst>
                              <p:cond delay="0"/>
                            </p:stCondLst>
                            <p:childTnLst>
                              <p:par>
                                <p:cTn id="6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2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3" fill="hold">
                      <p:stCondLst>
                        <p:cond delay="indefinite"/>
                      </p:stCondLst>
                      <p:childTnLst>
                        <p:par>
                          <p:cTn id="64" fill="hold">
                            <p:stCondLst>
                              <p:cond delay="0"/>
                            </p:stCondLst>
                            <p:childTnLst>
                              <p:par>
                                <p:cTn id="6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7" dur="500"/>
                                        <p:tgtEl>
                                          <p:spTgt spid="2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8" fill="hold">
                      <p:stCondLst>
                        <p:cond delay="indefinite"/>
                      </p:stCondLst>
                      <p:childTnLst>
                        <p:par>
                          <p:cTn id="69" fill="hold">
                            <p:stCondLst>
                              <p:cond delay="0"/>
                            </p:stCondLst>
                            <p:childTnLst>
                              <p:par>
                                <p:cTn id="7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3" fill="hold">
                      <p:stCondLst>
                        <p:cond delay="indefinite"/>
                      </p:stCondLst>
                      <p:childTnLst>
                        <p:par>
                          <p:cTn id="74" fill="hold">
                            <p:stCondLst>
                              <p:cond delay="0"/>
                            </p:stCondLst>
                            <p:childTnLst>
                              <p:par>
                                <p:cTn id="7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7" dur="500"/>
                                        <p:tgtEl>
                                          <p:spTgt spid="2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7" grpId="0"/>
      <p:bldP spid="8" grpId="0"/>
      <p:bldP spid="10" grpId="0"/>
      <p:bldP spid="20" grpId="0"/>
      <p:bldP spid="21" grpId="0"/>
      <p:bldP spid="22" grpId="0"/>
      <p:bldP spid="23" grpId="0"/>
      <p:bldP spid="26" grpId="0"/>
    </p:bldLst>
  </p:timing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Τίτλος 3">
            <a:extLst>
              <a:ext uri="{FF2B5EF4-FFF2-40B4-BE49-F238E27FC236}">
                <a16:creationId xmlns:a16="http://schemas.microsoft.com/office/drawing/2014/main" id="{B2FA7148-B9F9-724E-AF8F-0C400034B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Δίκτυα Μεταφορών – Συνδεσιμότητα</a:t>
            </a:r>
            <a:br>
              <a:rPr lang="el-GR" dirty="0"/>
            </a:br>
            <a:br>
              <a:rPr lang="el-GR" dirty="0"/>
            </a:br>
            <a:endParaRPr lang="el-GR" dirty="0"/>
          </a:p>
        </p:txBody>
      </p:sp>
      <p:sp>
        <p:nvSpPr>
          <p:cNvPr id="30" name="Ορθογώνιο 29"/>
          <p:cNvSpPr/>
          <p:nvPr/>
        </p:nvSpPr>
        <p:spPr>
          <a:xfrm>
            <a:off x="6236208" y="5144021"/>
            <a:ext cx="5492673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331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χλμ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νέο &amp; αναβαθμισμένο δίκτυο</a:t>
            </a:r>
          </a:p>
        </p:txBody>
      </p:sp>
      <p:sp>
        <p:nvSpPr>
          <p:cNvPr id="31" name="Ορθογώνιο 30"/>
          <p:cNvSpPr/>
          <p:nvPr/>
        </p:nvSpPr>
        <p:spPr>
          <a:xfrm>
            <a:off x="358487" y="4690993"/>
            <a:ext cx="5513757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616 </a:t>
            </a:r>
            <a:r>
              <a:rPr lang="el-GR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χλμ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l-GR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/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εκ των οποίων 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408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χλμ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 ΔΕΔ-Μ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2" name="Ορθογώνιο 31"/>
          <p:cNvSpPr/>
          <p:nvPr/>
        </p:nvSpPr>
        <p:spPr>
          <a:xfrm>
            <a:off x="384049" y="6477578"/>
            <a:ext cx="5488196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Εξοικονόμηση χρόνου: </a:t>
            </a:r>
          </a:p>
          <a:p>
            <a:pPr algn="ctr"/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4,5 εκατ. </a:t>
            </a:r>
            <a:r>
              <a:rPr lang="el-GR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ανθρωποηµέρες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/έτος</a:t>
            </a:r>
          </a:p>
        </p:txBody>
      </p:sp>
      <p:sp>
        <p:nvSpPr>
          <p:cNvPr id="33" name="Ορθογώνιο 32"/>
          <p:cNvSpPr/>
          <p:nvPr/>
        </p:nvSpPr>
        <p:spPr>
          <a:xfrm>
            <a:off x="6236208" y="6926351"/>
            <a:ext cx="5492673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451 χιλιόμετρα ΔΕΔ-Μ 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με </a:t>
            </a:r>
          </a:p>
          <a:p>
            <a:pPr algn="ctr"/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Ευρωπαϊκό Σύστημα Διαχείρισης της Σιδηροδρομικής Κυκλοφορίας </a:t>
            </a:r>
          </a:p>
        </p:txBody>
      </p:sp>
      <p:sp>
        <p:nvSpPr>
          <p:cNvPr id="34" name="Ορθογώνιο 33"/>
          <p:cNvSpPr/>
          <p:nvPr/>
        </p:nvSpPr>
        <p:spPr>
          <a:xfrm>
            <a:off x="370351" y="10292658"/>
            <a:ext cx="5501894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224 </a:t>
            </a:r>
            <a:r>
              <a:rPr lang="el-GR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χλμ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βελτίωση οδικής ασφάλειας </a:t>
            </a:r>
          </a:p>
        </p:txBody>
      </p:sp>
      <p:sp>
        <p:nvSpPr>
          <p:cNvPr id="35" name="Ορθογώνιο 34"/>
          <p:cNvSpPr/>
          <p:nvPr/>
        </p:nvSpPr>
        <p:spPr>
          <a:xfrm>
            <a:off x="365996" y="8430154"/>
            <a:ext cx="5506248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2 νέες </a:t>
            </a:r>
            <a:r>
              <a:rPr lang="el-GR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διατροπικές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 συνδέσεις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(με λιμένες) </a:t>
            </a:r>
          </a:p>
        </p:txBody>
      </p:sp>
      <p:sp>
        <p:nvSpPr>
          <p:cNvPr id="36" name="Ορθογώνιο 35"/>
          <p:cNvSpPr/>
          <p:nvPr/>
        </p:nvSpPr>
        <p:spPr>
          <a:xfrm>
            <a:off x="6236208" y="9916764"/>
            <a:ext cx="549267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6 νέες </a:t>
            </a:r>
            <a:r>
              <a:rPr lang="el-GR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διατροπικές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 συνδέσεις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/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(με λιμένες &amp; αεροδρόμια) </a:t>
            </a:r>
          </a:p>
        </p:txBody>
      </p:sp>
      <p:sp>
        <p:nvSpPr>
          <p:cNvPr id="38" name="Ορθογώνιο 37"/>
          <p:cNvSpPr/>
          <p:nvPr/>
        </p:nvSpPr>
        <p:spPr>
          <a:xfrm>
            <a:off x="12060831" y="8913674"/>
            <a:ext cx="5244476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860.000 επιβάτες/ έτος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θα εξυπηρετηθούν από περισσότερα από 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3.200 δρομολόγια άγονων γραμμών</a:t>
            </a:r>
            <a:endParaRPr lang="el-GR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Ορθογώνιο 38"/>
          <p:cNvSpPr/>
          <p:nvPr/>
        </p:nvSpPr>
        <p:spPr>
          <a:xfrm>
            <a:off x="12088369" y="5026044"/>
            <a:ext cx="5216938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ctr"/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Αναβάθμιση 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16.500 τ.μ.</a:t>
            </a: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σε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 33 λιμένες</a:t>
            </a:r>
            <a:endParaRPr lang="el-GR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0" name="Ορθογώνιο 39"/>
          <p:cNvSpPr/>
          <p:nvPr/>
        </p:nvSpPr>
        <p:spPr>
          <a:xfrm>
            <a:off x="12058063" y="6534844"/>
            <a:ext cx="524724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defRPr/>
            </a:pP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Αύξηση κατά 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1,1 εκατ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. 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επιβάτες/ έτος</a:t>
            </a: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της 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επιβατικής κίνησης</a:t>
            </a:r>
            <a:endParaRPr lang="en-US" sz="32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4" name="Ομάδα 53"/>
          <p:cNvGrpSpPr/>
          <p:nvPr/>
        </p:nvGrpSpPr>
        <p:grpSpPr>
          <a:xfrm>
            <a:off x="347472" y="2468345"/>
            <a:ext cx="5524773" cy="8997993"/>
            <a:chOff x="347472" y="2468345"/>
            <a:chExt cx="5524773" cy="8997993"/>
          </a:xfrm>
        </p:grpSpPr>
        <p:sp>
          <p:nvSpPr>
            <p:cNvPr id="11" name="Ορθογώνιο 10"/>
            <p:cNvSpPr/>
            <p:nvPr/>
          </p:nvSpPr>
          <p:spPr>
            <a:xfrm>
              <a:off x="347473" y="2483776"/>
              <a:ext cx="5524772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lvl="0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l-GR" sz="3200" b="1" kern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Οδικό Δίκτυο</a:t>
              </a:r>
            </a:p>
          </p:txBody>
        </p:sp>
        <p:sp>
          <p:nvSpPr>
            <p:cNvPr id="12" name="Ορθογώνιο 11"/>
            <p:cNvSpPr/>
            <p:nvPr/>
          </p:nvSpPr>
          <p:spPr>
            <a:xfrm>
              <a:off x="347472" y="2468345"/>
              <a:ext cx="5524773" cy="8997993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41" name="Ομάδα 40"/>
            <p:cNvGrpSpPr/>
            <p:nvPr/>
          </p:nvGrpSpPr>
          <p:grpSpPr>
            <a:xfrm>
              <a:off x="2498147" y="3311231"/>
              <a:ext cx="1260000" cy="1260000"/>
              <a:chOff x="1038549" y="1484784"/>
              <a:chExt cx="720000" cy="845177"/>
            </a:xfrm>
          </p:grpSpPr>
          <p:pic>
            <p:nvPicPr>
              <p:cNvPr id="42" name="Εικόνα 41"/>
              <p:cNvPicPr>
                <a:picLocks noChangeAspect="1"/>
              </p:cNvPicPr>
              <p:nvPr/>
            </p:nvPicPr>
            <p:blipFill>
              <a:blip r:embed="rId3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038549" y="1484784"/>
                <a:ext cx="720000" cy="720000"/>
              </a:xfrm>
              <a:prstGeom prst="rect">
                <a:avLst/>
              </a:prstGeom>
            </p:spPr>
          </p:pic>
          <p:pic>
            <p:nvPicPr>
              <p:cNvPr id="43" name="Picture 18" descr="Logo&#10;&#10;Description automatically generated">
                <a:extLst>
                  <a:ext uri="{FF2B5EF4-FFF2-40B4-BE49-F238E27FC236}">
                    <a16:creationId xmlns:a16="http://schemas.microsoft.com/office/drawing/2014/main" id="{7F5B8440-AC1B-C51D-3E1B-AF7365D6F5F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4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419848" y="2032152"/>
                <a:ext cx="297809" cy="297809"/>
              </a:xfrm>
              <a:prstGeom prst="rect">
                <a:avLst/>
              </a:prstGeom>
            </p:spPr>
          </p:pic>
        </p:grpSp>
      </p:grpSp>
      <p:grpSp>
        <p:nvGrpSpPr>
          <p:cNvPr id="58" name="Ομάδα 57"/>
          <p:cNvGrpSpPr/>
          <p:nvPr/>
        </p:nvGrpSpPr>
        <p:grpSpPr>
          <a:xfrm>
            <a:off x="6236208" y="2468347"/>
            <a:ext cx="5492673" cy="8997991"/>
            <a:chOff x="6236208" y="2468347"/>
            <a:chExt cx="5492673" cy="8997991"/>
          </a:xfrm>
        </p:grpSpPr>
        <p:sp>
          <p:nvSpPr>
            <p:cNvPr id="15" name="Ορθογώνιο 14"/>
            <p:cNvSpPr/>
            <p:nvPr/>
          </p:nvSpPr>
          <p:spPr>
            <a:xfrm>
              <a:off x="6236208" y="2468347"/>
              <a:ext cx="5492673" cy="8997991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5" name="Ομάδα 54"/>
            <p:cNvGrpSpPr/>
            <p:nvPr/>
          </p:nvGrpSpPr>
          <p:grpSpPr>
            <a:xfrm>
              <a:off x="6236208" y="2483778"/>
              <a:ext cx="5492673" cy="2093822"/>
              <a:chOff x="6236208" y="2483778"/>
              <a:chExt cx="5492673" cy="2093822"/>
            </a:xfrm>
          </p:grpSpPr>
          <p:sp>
            <p:nvSpPr>
              <p:cNvPr id="14" name="Ορθογώνιο 13"/>
              <p:cNvSpPr/>
              <p:nvPr/>
            </p:nvSpPr>
            <p:spPr>
              <a:xfrm>
                <a:off x="6236208" y="2483778"/>
                <a:ext cx="5492673" cy="584775"/>
              </a:xfrm>
              <a:prstGeom prst="rect">
                <a:avLst/>
              </a:prstGeom>
              <a:solidFill>
                <a:srgbClr val="21D6DF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lvl="0" defTabSz="914400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l-GR" sz="3200" b="1" kern="12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Σιδηροδρομικό Δίκτυο</a:t>
                </a:r>
                <a:endPara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pic>
            <p:nvPicPr>
              <p:cNvPr id="44" name="Picture 14" descr="A picture containing logo&#10;&#10;Description automatically generated">
                <a:extLst>
                  <a:ext uri="{FF2B5EF4-FFF2-40B4-BE49-F238E27FC236}">
                    <a16:creationId xmlns:a16="http://schemas.microsoft.com/office/drawing/2014/main" id="{B9BAC308-8D62-3D47-3772-F49051180F88}"/>
                  </a:ext>
                </a:extLst>
              </p:cNvPr>
              <p:cNvPicPr>
                <a:picLocks noChangeAspect="1"/>
              </p:cNvPicPr>
              <p:nvPr/>
            </p:nvPicPr>
            <p:blipFill>
              <a:blip r:embed="rId5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8618428" y="3317600"/>
                <a:ext cx="1260000" cy="1260000"/>
              </a:xfrm>
              <a:prstGeom prst="rect">
                <a:avLst/>
              </a:prstGeom>
            </p:spPr>
          </p:pic>
        </p:grpSp>
      </p:grpSp>
      <p:grpSp>
        <p:nvGrpSpPr>
          <p:cNvPr id="56" name="Ομάδα 55"/>
          <p:cNvGrpSpPr/>
          <p:nvPr/>
        </p:nvGrpSpPr>
        <p:grpSpPr>
          <a:xfrm>
            <a:off x="12058065" y="2464702"/>
            <a:ext cx="5247242" cy="9001873"/>
            <a:chOff x="12058065" y="2464702"/>
            <a:chExt cx="5247242" cy="9001873"/>
          </a:xfrm>
        </p:grpSpPr>
        <p:sp>
          <p:nvSpPr>
            <p:cNvPr id="18" name="Ορθογώνιο 17"/>
            <p:cNvSpPr/>
            <p:nvPr/>
          </p:nvSpPr>
          <p:spPr>
            <a:xfrm>
              <a:off x="12058066" y="2480384"/>
              <a:ext cx="5247240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lvl="0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l-GR" sz="3200" b="1" kern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Λιμενικές Υποδομές</a:t>
              </a:r>
            </a:p>
          </p:txBody>
        </p:sp>
        <p:sp>
          <p:nvSpPr>
            <p:cNvPr id="19" name="Ορθογώνιο 18"/>
            <p:cNvSpPr/>
            <p:nvPr/>
          </p:nvSpPr>
          <p:spPr>
            <a:xfrm>
              <a:off x="12058065" y="2464702"/>
              <a:ext cx="5247242" cy="9001873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45" name="Εικόνα 44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4066838" y="3279885"/>
              <a:ext cx="1260000" cy="1260000"/>
            </a:xfrm>
            <a:prstGeom prst="rect">
              <a:avLst/>
            </a:prstGeom>
          </p:spPr>
        </p:pic>
      </p:grpSp>
      <p:sp>
        <p:nvSpPr>
          <p:cNvPr id="46" name="Ορθογώνιο 45"/>
          <p:cNvSpPr/>
          <p:nvPr/>
        </p:nvSpPr>
        <p:spPr>
          <a:xfrm>
            <a:off x="17596121" y="5197534"/>
            <a:ext cx="6288007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defRPr/>
            </a:pP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21,4 </a:t>
            </a:r>
            <a:r>
              <a:rPr lang="el-GR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χλμ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νέων γραμμών μετρό </a:t>
            </a:r>
            <a:r>
              <a:rPr lang="en-US" sz="3200" dirty="0">
                <a:latin typeface="Arial" panose="020B0604020202020204" pitchFamily="34" charset="0"/>
                <a:cs typeface="Arial" panose="020B0604020202020204" pitchFamily="34" charset="0"/>
              </a:rPr>
              <a:t>(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Αθήνα και </a:t>
            </a:r>
            <a:r>
              <a:rPr lang="el-GR" sz="3200" dirty="0" err="1">
                <a:latin typeface="Arial" panose="020B0604020202020204" pitchFamily="34" charset="0"/>
                <a:cs typeface="Arial" panose="020B0604020202020204" pitchFamily="34" charset="0"/>
              </a:rPr>
              <a:t>Θεσ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/</a:t>
            </a:r>
            <a:r>
              <a:rPr lang="el-GR" sz="3200" dirty="0" err="1">
                <a:latin typeface="Arial" panose="020B0604020202020204" pitchFamily="34" charset="0"/>
                <a:cs typeface="Arial" panose="020B0604020202020204" pitchFamily="34" charset="0"/>
              </a:rPr>
              <a:t>κη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),                   θα εξυπηρετούν 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επιπλέον        85 εκ. επιβάτες ετησίως</a:t>
            </a:r>
          </a:p>
        </p:txBody>
      </p:sp>
      <p:sp>
        <p:nvSpPr>
          <p:cNvPr id="47" name="Ορθογώνιο 46"/>
          <p:cNvSpPr/>
          <p:nvPr/>
        </p:nvSpPr>
        <p:spPr>
          <a:xfrm>
            <a:off x="17634488" y="7648501"/>
            <a:ext cx="62496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defRPr/>
            </a:pP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240 σημεία ανεφοδιασμού/επαναφόρτισης</a:t>
            </a: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για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 καθαρά οχήματα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8" name="Ορθογώνιο 47"/>
          <p:cNvSpPr/>
          <p:nvPr/>
        </p:nvSpPr>
        <p:spPr>
          <a:xfrm>
            <a:off x="17634488" y="9701111"/>
            <a:ext cx="6249639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 fontAlgn="auto">
              <a:spcBef>
                <a:spcPts val="300"/>
              </a:spcBef>
              <a:spcAft>
                <a:spcPts val="300"/>
              </a:spcAft>
              <a:buClr>
                <a:schemeClr val="accent5"/>
              </a:buClr>
              <a:defRPr/>
            </a:pP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44</a:t>
            </a:r>
            <a:r>
              <a:rPr lang="en-US" sz="3200" b="1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dirty="0" err="1">
                <a:latin typeface="Arial" panose="020B0604020202020204" pitchFamily="34" charset="0"/>
                <a:cs typeface="Arial" panose="020B0604020202020204" pitchFamily="34" charset="0"/>
              </a:rPr>
              <a:t>χλμ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 ποδηλατοδρόμων </a:t>
            </a:r>
            <a:r>
              <a:rPr lang="el-GR" sz="3200" dirty="0">
                <a:latin typeface="Arial" panose="020B0604020202020204" pitchFamily="34" charset="0"/>
                <a:cs typeface="Arial" panose="020B0604020202020204" pitchFamily="34" charset="0"/>
              </a:rPr>
              <a:t>εξυπηρετώντας περίπου </a:t>
            </a:r>
            <a:r>
              <a:rPr lang="el-GR" sz="3200" b="1" dirty="0">
                <a:latin typeface="Arial" panose="020B0604020202020204" pitchFamily="34" charset="0"/>
                <a:cs typeface="Arial" panose="020B0604020202020204" pitchFamily="34" charset="0"/>
              </a:rPr>
              <a:t>770 χιλ. χρήστες ετησίως</a:t>
            </a:r>
            <a:endParaRPr lang="en-US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57" name="Ομάδα 56"/>
          <p:cNvGrpSpPr/>
          <p:nvPr/>
        </p:nvGrpSpPr>
        <p:grpSpPr>
          <a:xfrm>
            <a:off x="17596121" y="2464702"/>
            <a:ext cx="6288007" cy="9001873"/>
            <a:chOff x="17596121" y="2464702"/>
            <a:chExt cx="6288007" cy="9001873"/>
          </a:xfrm>
        </p:grpSpPr>
        <p:sp>
          <p:nvSpPr>
            <p:cNvPr id="16" name="Ορθογώνιο 15"/>
            <p:cNvSpPr/>
            <p:nvPr/>
          </p:nvSpPr>
          <p:spPr>
            <a:xfrm>
              <a:off x="17596121" y="2480384"/>
              <a:ext cx="6288007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lvl="0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l-GR" sz="3200" b="1" kern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Βιώσιμες Αστικές Μεταφορές</a:t>
              </a:r>
            </a:p>
          </p:txBody>
        </p:sp>
        <p:sp>
          <p:nvSpPr>
            <p:cNvPr id="17" name="Ορθογώνιο 16"/>
            <p:cNvSpPr/>
            <p:nvPr/>
          </p:nvSpPr>
          <p:spPr>
            <a:xfrm>
              <a:off x="17596121" y="2464702"/>
              <a:ext cx="6288007" cy="9001873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53" name="Ομάδα 52"/>
            <p:cNvGrpSpPr/>
            <p:nvPr/>
          </p:nvGrpSpPr>
          <p:grpSpPr>
            <a:xfrm>
              <a:off x="19816696" y="3284346"/>
              <a:ext cx="2039188" cy="1536413"/>
              <a:chOff x="19770551" y="3728365"/>
              <a:chExt cx="2039188" cy="1536413"/>
            </a:xfrm>
          </p:grpSpPr>
          <p:pic>
            <p:nvPicPr>
              <p:cNvPr id="49" name="Εικόνα 48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836290" y="3728365"/>
                <a:ext cx="973449" cy="900000"/>
              </a:xfrm>
              <a:prstGeom prst="rect">
                <a:avLst/>
              </a:prstGeom>
            </p:spPr>
          </p:pic>
          <p:pic>
            <p:nvPicPr>
              <p:cNvPr id="50" name="Εικόνα 49"/>
              <p:cNvPicPr>
                <a:picLocks noChangeAspect="1"/>
              </p:cNvPicPr>
              <p:nvPr/>
            </p:nvPicPr>
            <p:blipFill>
              <a:blip r:embed="rId8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9770551" y="3816326"/>
                <a:ext cx="1168140" cy="1080000"/>
              </a:xfrm>
              <a:prstGeom prst="rect">
                <a:avLst/>
              </a:prstGeom>
            </p:spPr>
          </p:pic>
          <p:pic>
            <p:nvPicPr>
              <p:cNvPr id="51" name="Εικόνα 50"/>
              <p:cNvPicPr>
                <a:picLocks noChangeAspect="1"/>
              </p:cNvPicPr>
              <p:nvPr/>
            </p:nvPicPr>
            <p:blipFill>
              <a:blip r:embed="rId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20252220" y="4184778"/>
                <a:ext cx="1168139" cy="1080000"/>
              </a:xfrm>
              <a:prstGeom prst="rect">
                <a:avLst/>
              </a:prstGeom>
            </p:spPr>
          </p:pic>
        </p:grpSp>
      </p:grpSp>
    </p:spTree>
    <p:extLst>
      <p:ext uri="{BB962C8B-B14F-4D97-AF65-F5344CB8AC3E}">
        <p14:creationId xmlns:p14="http://schemas.microsoft.com/office/powerpoint/2010/main" val="897065839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5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3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7" fill="hold">
                      <p:stCondLst>
                        <p:cond delay="indefinite"/>
                      </p:stCondLst>
                      <p:childTnLst>
                        <p:par>
                          <p:cTn id="28" fill="hold">
                            <p:stCondLst>
                              <p:cond delay="0"/>
                            </p:stCondLst>
                            <p:childTnLst>
                              <p:par>
                                <p:cTn id="2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1" dur="500"/>
                                        <p:tgtEl>
                                          <p:spTgt spid="5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2" fill="hold">
                      <p:stCondLst>
                        <p:cond delay="indefinite"/>
                      </p:stCondLst>
                      <p:childTnLst>
                        <p:par>
                          <p:cTn id="33" fill="hold">
                            <p:stCondLst>
                              <p:cond delay="0"/>
                            </p:stCondLst>
                            <p:childTnLst>
                              <p:par>
                                <p:cTn id="3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6" dur="5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7" fill="hold">
                      <p:stCondLst>
                        <p:cond delay="indefinite"/>
                      </p:stCondLst>
                      <p:childTnLst>
                        <p:par>
                          <p:cTn id="38" fill="hold">
                            <p:stCondLst>
                              <p:cond delay="0"/>
                            </p:stCondLst>
                            <p:childTnLst>
                              <p:par>
                                <p:cTn id="3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1" dur="500"/>
                                        <p:tgtEl>
                                          <p:spTgt spid="3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2" fill="hold">
                      <p:stCondLst>
                        <p:cond delay="indefinite"/>
                      </p:stCondLst>
                      <p:childTnLst>
                        <p:par>
                          <p:cTn id="43" fill="hold">
                            <p:stCondLst>
                              <p:cond delay="0"/>
                            </p:stCondLst>
                            <p:childTnLst>
                              <p:par>
                                <p:cTn id="4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7" fill="hold">
                      <p:stCondLst>
                        <p:cond delay="indefinite"/>
                      </p:stCondLst>
                      <p:childTnLst>
                        <p:par>
                          <p:cTn id="48" fill="hold">
                            <p:stCondLst>
                              <p:cond delay="0"/>
                            </p:stCondLst>
                            <p:childTnLst>
                              <p:par>
                                <p:cTn id="4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1" dur="500"/>
                                        <p:tgtEl>
                                          <p:spTgt spid="5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2" fill="hold">
                      <p:stCondLst>
                        <p:cond delay="indefinite"/>
                      </p:stCondLst>
                      <p:childTnLst>
                        <p:par>
                          <p:cTn id="53" fill="hold">
                            <p:stCondLst>
                              <p:cond delay="0"/>
                            </p:stCondLst>
                            <p:childTnLst>
                              <p:par>
                                <p:cTn id="5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6" dur="500"/>
                                        <p:tgtEl>
                                          <p:spTgt spid="3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57" fill="hold">
                      <p:stCondLst>
                        <p:cond delay="indefinite"/>
                      </p:stCondLst>
                      <p:childTnLst>
                        <p:par>
                          <p:cTn id="58" fill="hold">
                            <p:stCondLst>
                              <p:cond delay="0"/>
                            </p:stCondLst>
                            <p:childTnLst>
                              <p:par>
                                <p:cTn id="5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1" dur="500"/>
                                        <p:tgtEl>
                                          <p:spTgt spid="4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2" fill="hold">
                      <p:stCondLst>
                        <p:cond delay="indefinite"/>
                      </p:stCondLst>
                      <p:childTnLst>
                        <p:par>
                          <p:cTn id="63" fill="hold">
                            <p:stCondLst>
                              <p:cond delay="0"/>
                            </p:stCondLst>
                            <p:childTnLst>
                              <p:par>
                                <p:cTn id="6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66" dur="500"/>
                                        <p:tgtEl>
                                          <p:spTgt spid="3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67" fill="hold">
                      <p:stCondLst>
                        <p:cond delay="indefinite"/>
                      </p:stCondLst>
                      <p:childTnLst>
                        <p:par>
                          <p:cTn id="68" fill="hold">
                            <p:stCondLst>
                              <p:cond delay="0"/>
                            </p:stCondLst>
                            <p:childTnLst>
                              <p:par>
                                <p:cTn id="69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5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1" dur="500"/>
                                        <p:tgtEl>
                                          <p:spTgt spid="5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2" fill="hold">
                      <p:stCondLst>
                        <p:cond delay="indefinite"/>
                      </p:stCondLst>
                      <p:childTnLst>
                        <p:par>
                          <p:cTn id="73" fill="hold">
                            <p:stCondLst>
                              <p:cond delay="0"/>
                            </p:stCondLst>
                            <p:childTnLst>
                              <p:par>
                                <p:cTn id="7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7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7" fill="hold">
                      <p:stCondLst>
                        <p:cond delay="indefinite"/>
                      </p:stCondLst>
                      <p:childTnLst>
                        <p:par>
                          <p:cTn id="78" fill="hold">
                            <p:stCondLst>
                              <p:cond delay="0"/>
                            </p:stCondLst>
                            <p:childTnLst>
                              <p:par>
                                <p:cTn id="79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1" dur="500"/>
                                        <p:tgtEl>
                                          <p:spTgt spid="4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2" fill="hold">
                      <p:stCondLst>
                        <p:cond delay="indefinite"/>
                      </p:stCondLst>
                      <p:childTnLst>
                        <p:par>
                          <p:cTn id="83" fill="hold">
                            <p:stCondLst>
                              <p:cond delay="0"/>
                            </p:stCondLst>
                            <p:childTnLst>
                              <p:par>
                                <p:cTn id="84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8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86" dur="500"/>
                                        <p:tgtEl>
                                          <p:spTgt spid="4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  <p:bldP spid="31" grpId="0"/>
      <p:bldP spid="32" grpId="0"/>
      <p:bldP spid="33" grpId="0"/>
      <p:bldP spid="34" grpId="0"/>
      <p:bldP spid="35" grpId="0"/>
      <p:bldP spid="36" grpId="0"/>
      <p:bldP spid="38" grpId="0"/>
      <p:bldP spid="39" grpId="0"/>
      <p:bldP spid="40" grpId="0"/>
      <p:bldP spid="46" grpId="0"/>
      <p:bldP spid="47" grpId="0"/>
      <p:bldP spid="48" grpId="0"/>
    </p:bldLst>
  </p:timing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Τίτλος 3">
            <a:extLst>
              <a:ext uri="{FF2B5EF4-FFF2-40B4-BE49-F238E27FC236}">
                <a16:creationId xmlns:a16="http://schemas.microsoft.com/office/drawing/2014/main" id="{B2FA7148-B9F9-724E-AF8F-0C400034B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αιδεία – Υγεία – Κοινωνική Μέριμνα</a:t>
            </a:r>
            <a:br>
              <a:rPr lang="el-GR" dirty="0"/>
            </a:br>
            <a:br>
              <a:rPr lang="el-GR" dirty="0"/>
            </a:br>
            <a:endParaRPr lang="el-GR" dirty="0"/>
          </a:p>
        </p:txBody>
      </p:sp>
      <p:grpSp>
        <p:nvGrpSpPr>
          <p:cNvPr id="2" name="Ομάδα 1"/>
          <p:cNvGrpSpPr/>
          <p:nvPr/>
        </p:nvGrpSpPr>
        <p:grpSpPr>
          <a:xfrm>
            <a:off x="347472" y="2465488"/>
            <a:ext cx="11393425" cy="9000850"/>
            <a:chOff x="5394960" y="2465488"/>
            <a:chExt cx="12746736" cy="9000850"/>
          </a:xfrm>
        </p:grpSpPr>
        <p:sp>
          <p:nvSpPr>
            <p:cNvPr id="11" name="Ορθογώνιο 10"/>
            <p:cNvSpPr/>
            <p:nvPr/>
          </p:nvSpPr>
          <p:spPr>
            <a:xfrm>
              <a:off x="5394960" y="2465488"/>
              <a:ext cx="12746735" cy="584775"/>
            </a:xfrm>
            <a:prstGeom prst="rect">
              <a:avLst/>
            </a:prstGeom>
            <a:solidFill>
              <a:srgbClr val="21D6DF"/>
            </a:solidFill>
            <a:ln>
              <a:noFill/>
            </a:ln>
          </p:spPr>
          <p:txBody>
            <a:bodyPr wrap="square">
              <a:spAutoFit/>
            </a:bodyPr>
            <a:lstStyle/>
            <a:p>
              <a:pPr lvl="0" defTabSz="914400" fontAlgn="base" hangingPunct="1">
                <a:spcBef>
                  <a:spcPct val="0"/>
                </a:spcBef>
                <a:spcAft>
                  <a:spcPct val="0"/>
                </a:spcAft>
              </a:pPr>
              <a:r>
                <a:rPr lang="el-GR" sz="3200" b="1" kern="12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Κοινωνικές Υποδομές</a:t>
              </a:r>
            </a:p>
          </p:txBody>
        </p:sp>
        <p:sp>
          <p:nvSpPr>
            <p:cNvPr id="12" name="Ορθογώνιο 11"/>
            <p:cNvSpPr/>
            <p:nvPr/>
          </p:nvSpPr>
          <p:spPr>
            <a:xfrm>
              <a:off x="5394960" y="2468345"/>
              <a:ext cx="12746736" cy="8997993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grpSp>
        <p:nvGrpSpPr>
          <p:cNvPr id="15" name="Ομάδα 14"/>
          <p:cNvGrpSpPr/>
          <p:nvPr/>
        </p:nvGrpSpPr>
        <p:grpSpPr>
          <a:xfrm>
            <a:off x="590853" y="7756674"/>
            <a:ext cx="11678608" cy="1260000"/>
            <a:chOff x="590853" y="7756674"/>
            <a:chExt cx="11678608" cy="1260000"/>
          </a:xfrm>
        </p:grpSpPr>
        <p:pic>
          <p:nvPicPr>
            <p:cNvPr id="54" name="Picture 20" descr="Icon&#10;&#10;Description automatically generated">
              <a:extLst>
                <a:ext uri="{FF2B5EF4-FFF2-40B4-BE49-F238E27FC236}">
                  <a16:creationId xmlns:a16="http://schemas.microsoft.com/office/drawing/2014/main" id="{3775388E-235E-D390-156D-9359ED30B274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0853" y="7756674"/>
              <a:ext cx="1178302" cy="1260000"/>
            </a:xfrm>
            <a:prstGeom prst="rect">
              <a:avLst/>
            </a:prstGeom>
          </p:spPr>
        </p:pic>
        <p:sp>
          <p:nvSpPr>
            <p:cNvPr id="56" name="Ορθογώνιο 55"/>
            <p:cNvSpPr/>
            <p:nvPr/>
          </p:nvSpPr>
          <p:spPr>
            <a:xfrm>
              <a:off x="2094234" y="7848065"/>
              <a:ext cx="10175227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auto">
                <a:spcBef>
                  <a:spcPts val="300"/>
                </a:spcBef>
                <a:spcAft>
                  <a:spcPts val="300"/>
                </a:spcAft>
                <a:buClr>
                  <a:schemeClr val="accent5"/>
                </a:buClr>
                <a:defRPr/>
              </a:pP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8,9 εκατ. άτομα </a:t>
              </a:r>
              <a:r>
                <a:rPr lang="el-GR" sz="3200" dirty="0">
                  <a:latin typeface="Arial" panose="020B0604020202020204" pitchFamily="34" charset="0"/>
                  <a:cs typeface="Arial" panose="020B0604020202020204" pitchFamily="34" charset="0"/>
                </a:rPr>
                <a:t>οι ετήσιοι χρήστες των </a:t>
              </a: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εγκαταστάσεων υγειονομικής περίθαλψης</a:t>
              </a:r>
            </a:p>
          </p:txBody>
        </p:sp>
      </p:grpSp>
      <p:grpSp>
        <p:nvGrpSpPr>
          <p:cNvPr id="16" name="Ομάδα 15"/>
          <p:cNvGrpSpPr/>
          <p:nvPr/>
        </p:nvGrpSpPr>
        <p:grpSpPr>
          <a:xfrm>
            <a:off x="590853" y="9594410"/>
            <a:ext cx="11678608" cy="1260000"/>
            <a:chOff x="590853" y="9594410"/>
            <a:chExt cx="11678608" cy="1260000"/>
          </a:xfrm>
        </p:grpSpPr>
        <p:sp>
          <p:nvSpPr>
            <p:cNvPr id="55" name="Ορθογώνιο 54"/>
            <p:cNvSpPr/>
            <p:nvPr/>
          </p:nvSpPr>
          <p:spPr>
            <a:xfrm>
              <a:off x="2094234" y="9658552"/>
              <a:ext cx="10175227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fontAlgn="auto">
                <a:spcBef>
                  <a:spcPts val="300"/>
                </a:spcBef>
                <a:spcAft>
                  <a:spcPts val="300"/>
                </a:spcAft>
                <a:buClr>
                  <a:schemeClr val="accent5"/>
                </a:buClr>
                <a:defRPr/>
              </a:pP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&gt;170.000 άτομα</a:t>
              </a:r>
              <a:r>
                <a:rPr lang="el-GR" sz="3200" dirty="0">
                  <a:latin typeface="Arial" panose="020B0604020202020204" pitchFamily="34" charset="0"/>
                  <a:cs typeface="Arial" panose="020B0604020202020204" pitchFamily="34" charset="0"/>
                </a:rPr>
                <a:t> οι ετήσιοι χρήστες των </a:t>
              </a: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εγκαταστάσεων</a:t>
              </a:r>
              <a:r>
                <a:rPr lang="el-GR" sz="3200" dirty="0">
                  <a:latin typeface="Arial" panose="020B0604020202020204" pitchFamily="34" charset="0"/>
                  <a:cs typeface="Arial" panose="020B0604020202020204" pitchFamily="34" charset="0"/>
                </a:rPr>
                <a:t> </a:t>
              </a: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κοινωνικής μέριμνας</a:t>
              </a:r>
              <a:endParaRPr lang="el-GR" sz="3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7" name="Picture 21" descr="Icon&#10;&#10;Description automatically generated">
              <a:extLst>
                <a:ext uri="{FF2B5EF4-FFF2-40B4-BE49-F238E27FC236}">
                  <a16:creationId xmlns:a16="http://schemas.microsoft.com/office/drawing/2014/main" id="{470A9C81-E2E6-F9E8-16A7-BA7D70DFE74C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0853" y="9594410"/>
              <a:ext cx="1260000" cy="1260000"/>
            </a:xfrm>
            <a:prstGeom prst="rect">
              <a:avLst/>
            </a:prstGeom>
          </p:spPr>
        </p:pic>
      </p:grpSp>
      <p:grpSp>
        <p:nvGrpSpPr>
          <p:cNvPr id="13" name="Ομάδα 12"/>
          <p:cNvGrpSpPr/>
          <p:nvPr/>
        </p:nvGrpSpPr>
        <p:grpSpPr>
          <a:xfrm>
            <a:off x="591103" y="3534224"/>
            <a:ext cx="11149793" cy="1260000"/>
            <a:chOff x="591103" y="3534224"/>
            <a:chExt cx="11149793" cy="1260000"/>
          </a:xfrm>
        </p:grpSpPr>
        <p:sp>
          <p:nvSpPr>
            <p:cNvPr id="37" name="Ορθογώνιο 36"/>
            <p:cNvSpPr/>
            <p:nvPr/>
          </p:nvSpPr>
          <p:spPr>
            <a:xfrm>
              <a:off x="2462350" y="3645830"/>
              <a:ext cx="9278546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auto">
                <a:spcBef>
                  <a:spcPts val="300"/>
                </a:spcBef>
                <a:spcAft>
                  <a:spcPts val="300"/>
                </a:spcAft>
                <a:buClr>
                  <a:schemeClr val="accent5"/>
                </a:buClr>
                <a:defRPr/>
              </a:pP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Αύξηση</a:t>
              </a:r>
              <a:r>
                <a:rPr lang="el-GR" sz="3200" dirty="0">
                  <a:latin typeface="Arial" panose="020B0604020202020204" pitchFamily="34" charset="0"/>
                  <a:cs typeface="Arial" panose="020B0604020202020204" pitchFamily="34" charset="0"/>
                </a:rPr>
                <a:t> κατά</a:t>
              </a: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 303.000 άτομα </a:t>
              </a:r>
              <a:r>
                <a:rPr lang="el-GR" sz="3200" dirty="0">
                  <a:latin typeface="Arial" panose="020B0604020202020204" pitchFamily="34" charset="0"/>
                  <a:cs typeface="Arial" panose="020B0604020202020204" pitchFamily="34" charset="0"/>
                </a:rPr>
                <a:t>οι </a:t>
              </a: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ετήσιοι χρήστες </a:t>
              </a:r>
              <a:r>
                <a:rPr lang="el-GR" sz="3200" dirty="0">
                  <a:latin typeface="Arial" panose="020B0604020202020204" pitchFamily="34" charset="0"/>
                  <a:cs typeface="Arial" panose="020B0604020202020204" pitchFamily="34" charset="0"/>
                </a:rPr>
                <a:t>των</a:t>
              </a: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 εκπαιδευτικών εγκαταστάσεων</a:t>
              </a:r>
              <a:endParaRPr lang="el-GR" sz="3200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8" name="Εικόνα 57"/>
            <p:cNvPicPr>
              <a:picLocks noChangeAspect="1"/>
            </p:cNvPicPr>
            <p:nvPr/>
          </p:nvPicPr>
          <p:blipFill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1103" y="3534224"/>
              <a:ext cx="1260000" cy="1260000"/>
            </a:xfrm>
            <a:prstGeom prst="rect">
              <a:avLst/>
            </a:prstGeom>
          </p:spPr>
        </p:pic>
      </p:grpSp>
      <p:grpSp>
        <p:nvGrpSpPr>
          <p:cNvPr id="14" name="Ομάδα 13"/>
          <p:cNvGrpSpPr/>
          <p:nvPr/>
        </p:nvGrpSpPr>
        <p:grpSpPr>
          <a:xfrm>
            <a:off x="590853" y="5633925"/>
            <a:ext cx="11150044" cy="1260000"/>
            <a:chOff x="590853" y="5633925"/>
            <a:chExt cx="11150044" cy="1260000"/>
          </a:xfrm>
        </p:grpSpPr>
        <p:sp>
          <p:nvSpPr>
            <p:cNvPr id="52" name="Ορθογώνιο 51"/>
            <p:cNvSpPr/>
            <p:nvPr/>
          </p:nvSpPr>
          <p:spPr>
            <a:xfrm>
              <a:off x="2596897" y="5754669"/>
              <a:ext cx="9144000" cy="107721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ctr" fontAlgn="auto">
                <a:spcBef>
                  <a:spcPts val="300"/>
                </a:spcBef>
                <a:spcAft>
                  <a:spcPts val="300"/>
                </a:spcAft>
                <a:buClr>
                  <a:schemeClr val="accent5"/>
                </a:buClr>
                <a:defRPr/>
              </a:pP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Αύξηση</a:t>
              </a:r>
              <a:r>
                <a:rPr lang="el-GR" sz="3200" dirty="0">
                  <a:latin typeface="Arial" panose="020B0604020202020204" pitchFamily="34" charset="0"/>
                  <a:cs typeface="Arial" panose="020B0604020202020204" pitchFamily="34" charset="0"/>
                </a:rPr>
                <a:t> κατά</a:t>
              </a: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 2.000 άτομα </a:t>
              </a:r>
              <a:r>
                <a:rPr lang="el-GR" sz="3200" dirty="0">
                  <a:latin typeface="Arial" panose="020B0604020202020204" pitchFamily="34" charset="0"/>
                  <a:cs typeface="Arial" panose="020B0604020202020204" pitchFamily="34" charset="0"/>
                </a:rPr>
                <a:t>οι</a:t>
              </a: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 ετήσιοι χρήστες</a:t>
              </a:r>
              <a:r>
                <a:rPr lang="el-GR" sz="3200" dirty="0">
                  <a:latin typeface="Arial" panose="020B0604020202020204" pitchFamily="34" charset="0"/>
                  <a:cs typeface="Arial" panose="020B0604020202020204" pitchFamily="34" charset="0"/>
                </a:rPr>
                <a:t> των </a:t>
              </a:r>
              <a:r>
                <a:rPr lang="el-GR" sz="3200" b="1" dirty="0">
                  <a:latin typeface="Arial" panose="020B0604020202020204" pitchFamily="34" charset="0"/>
                  <a:cs typeface="Arial" panose="020B0604020202020204" pitchFamily="34" charset="0"/>
                </a:rPr>
                <a:t>εγκαταστάσεων παιδικής φροντίδας</a:t>
              </a:r>
              <a:endParaRPr lang="el-GR" sz="3200" dirty="0">
                <a:solidFill>
                  <a:srgbClr val="FF0000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59" name="Εικόνα 58"/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90853" y="5633925"/>
              <a:ext cx="1260000" cy="1260000"/>
            </a:xfrm>
            <a:prstGeom prst="rect">
              <a:avLst/>
            </a:prstGeom>
          </p:spPr>
        </p:pic>
      </p:grpSp>
      <p:sp>
        <p:nvSpPr>
          <p:cNvPr id="23" name="Ορθογώνιο 22"/>
          <p:cNvSpPr/>
          <p:nvPr/>
        </p:nvSpPr>
        <p:spPr>
          <a:xfrm>
            <a:off x="12123157" y="5206509"/>
            <a:ext cx="11750962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tabLst>
                <a:tab pos="7351713" algn="l"/>
              </a:tabLst>
              <a:defRPr/>
            </a:pP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79.800 μαθητές/ σπουδαστές/ φοιτητές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συμμετάσχουν σε 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γράμματα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ακτικής άσκησης/ μαθητείας </a:t>
            </a:r>
          </a:p>
        </p:txBody>
      </p:sp>
      <p:grpSp>
        <p:nvGrpSpPr>
          <p:cNvPr id="17" name="Ομάδα 16"/>
          <p:cNvGrpSpPr/>
          <p:nvPr/>
        </p:nvGrpSpPr>
        <p:grpSpPr>
          <a:xfrm>
            <a:off x="11740897" y="2298327"/>
            <a:ext cx="12133223" cy="9168011"/>
            <a:chOff x="11740897" y="2298327"/>
            <a:chExt cx="12133223" cy="9168011"/>
          </a:xfrm>
        </p:grpSpPr>
        <p:sp>
          <p:nvSpPr>
            <p:cNvPr id="19" name="Ορθογώνιο 18"/>
            <p:cNvSpPr/>
            <p:nvPr/>
          </p:nvSpPr>
          <p:spPr>
            <a:xfrm>
              <a:off x="12086048" y="2465488"/>
              <a:ext cx="11788072" cy="9000850"/>
            </a:xfrm>
            <a:prstGeom prst="rect">
              <a:avLst/>
            </a:prstGeom>
            <a:noFill/>
            <a:ln w="25400" cap="flat" cmpd="sng" algn="ctr">
              <a:solidFill>
                <a:srgbClr val="21D6DF"/>
              </a:solidFill>
              <a:prstDash val="solid"/>
            </a:ln>
            <a:effectLst/>
          </p:spPr>
          <p:txBody>
            <a:bodyPr rtlCol="0" anchor="ctr"/>
            <a:lstStyle/>
            <a:p>
              <a:pPr marL="0" marR="0" lvl="0" indent="0" defTabSz="914400" eaLnBrk="1" fontAlgn="base" latinLnBrk="0" hangingPunct="1">
                <a:lnSpc>
                  <a:spcPct val="100000"/>
                </a:lnSpc>
                <a:spcBef>
                  <a:spcPct val="0"/>
                </a:spcBef>
                <a:spcAft>
                  <a:spcPct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l-GR" sz="3200" b="0" i="0" u="none" strike="noStrike" kern="120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10" name="Ομάδα 9"/>
            <p:cNvGrpSpPr/>
            <p:nvPr/>
          </p:nvGrpSpPr>
          <p:grpSpPr>
            <a:xfrm>
              <a:off x="11740897" y="2298327"/>
              <a:ext cx="12133222" cy="1440000"/>
              <a:chOff x="13301262" y="2345808"/>
              <a:chExt cx="12133222" cy="1440000"/>
            </a:xfrm>
          </p:grpSpPr>
          <p:sp>
            <p:nvSpPr>
              <p:cNvPr id="21" name="Ορθογώνιο 20"/>
              <p:cNvSpPr/>
              <p:nvPr/>
            </p:nvSpPr>
            <p:spPr>
              <a:xfrm>
                <a:off x="14319503" y="2499321"/>
                <a:ext cx="11114981" cy="584775"/>
              </a:xfrm>
              <a:prstGeom prst="rect">
                <a:avLst/>
              </a:prstGeom>
              <a:solidFill>
                <a:srgbClr val="21D6DF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lvl="0" defTabSz="914400" fontAlgn="base" hangingPunct="1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l-GR" sz="3200" b="1" kern="1200" dirty="0">
                    <a:solidFill>
                      <a:prstClr val="black"/>
                    </a:solidFill>
                    <a:latin typeface="Arial" panose="020B0604020202020204" pitchFamily="34" charset="0"/>
                    <a:cs typeface="Arial" panose="020B0604020202020204" pitchFamily="34" charset="0"/>
                  </a:rPr>
                  <a:t>Εκπαίδευση/ Κατάρτιση - Δια βίου μάθηση</a:t>
                </a:r>
              </a:p>
            </p:txBody>
          </p:sp>
          <p:pic>
            <p:nvPicPr>
              <p:cNvPr id="9" name="Εικόνα 8"/>
              <p:cNvPicPr>
                <a:picLocks noChangeAspect="1"/>
              </p:cNvPicPr>
              <p:nvPr/>
            </p:nvPicPr>
            <p:blipFill>
              <a:blip r:embed="rId7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tretch>
                <a:fillRect/>
              </a:stretch>
            </p:blipFill>
            <p:spPr>
              <a:xfrm>
                <a:off x="13301262" y="2345808"/>
                <a:ext cx="1440000" cy="1440000"/>
              </a:xfrm>
              <a:prstGeom prst="rect">
                <a:avLst/>
              </a:prstGeom>
            </p:spPr>
          </p:pic>
        </p:grpSp>
      </p:grpSp>
      <p:sp>
        <p:nvSpPr>
          <p:cNvPr id="25" name="Ορθογώνιο 24"/>
          <p:cNvSpPr/>
          <p:nvPr/>
        </p:nvSpPr>
        <p:spPr>
          <a:xfrm>
            <a:off x="12633472" y="3224564"/>
            <a:ext cx="11788073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tabLst>
                <a:tab pos="7351713" algn="l"/>
              </a:tabLst>
              <a:defRPr/>
            </a:pP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97.700 άτομα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αναμένεται να λάβουν 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ιστοποίηση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ων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αναβαθμισμένων προσόντων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τους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από προγράμματα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κπαίδευσης, επιμόρφωσης &amp; διά βίου μάθησης </a:t>
            </a:r>
          </a:p>
        </p:txBody>
      </p:sp>
      <p:sp>
        <p:nvSpPr>
          <p:cNvPr id="27" name="Ορθογώνιο 26"/>
          <p:cNvSpPr/>
          <p:nvPr/>
        </p:nvSpPr>
        <p:spPr>
          <a:xfrm>
            <a:off x="12068026" y="6712299"/>
            <a:ext cx="1178807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tabLst>
                <a:tab pos="7351713" algn="l"/>
              </a:tabLst>
              <a:defRPr/>
            </a:pP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n-US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.100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σπουδαστές/φοιτητές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κυρίως από μειονεκτούσες ομάδες και άτομα με ειδικές ανάγκες), θα λάβουν 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υποτροφίες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για την έγκαιρη ολοκλήρωση των σπουδών τους</a:t>
            </a:r>
          </a:p>
        </p:txBody>
      </p:sp>
      <p:sp>
        <p:nvSpPr>
          <p:cNvPr id="8" name="Ορθογώνιο 7"/>
          <p:cNvSpPr/>
          <p:nvPr/>
        </p:nvSpPr>
        <p:spPr>
          <a:xfrm>
            <a:off x="12102552" y="8692905"/>
            <a:ext cx="11753545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defTabSz="914400" hangingPunct="1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tabLst>
                <a:tab pos="7351713" algn="l"/>
              </a:tabLst>
              <a:defRPr/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75.200 σχολικές μονάδες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θα ενισχυθούν για την έγκαιρη παρέμβαση, την πρόληψη της πρόωρης εγκατάλειψης του σχολείου και την ενίσχυση της συμμετοχής στη δημόσια εκπαίδευση και κατάρτιση χωρίς διακρίσεις για &gt;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97.000 μαθητές/σπουδαστές</a:t>
            </a:r>
            <a:endParaRPr lang="el-GR" sz="3200" b="1" kern="1200" dirty="0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866115115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1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1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1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1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1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3" fill="hold">
                      <p:stCondLst>
                        <p:cond delay="indefinite"/>
                      </p:stCondLst>
                      <p:childTnLst>
                        <p:par>
                          <p:cTn id="34" fill="hold">
                            <p:stCondLst>
                              <p:cond delay="0"/>
                            </p:stCondLst>
                            <p:childTnLst>
                              <p:par>
                                <p:cTn id="3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7" dur="500"/>
                                        <p:tgtEl>
                                          <p:spTgt spid="2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38" fill="hold">
                      <p:stCondLst>
                        <p:cond delay="indefinite"/>
                      </p:stCondLst>
                      <p:childTnLst>
                        <p:par>
                          <p:cTn id="39" fill="hold">
                            <p:stCondLst>
                              <p:cond delay="0"/>
                            </p:stCondLst>
                            <p:childTnLst>
                              <p:par>
                                <p:cTn id="4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2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3" fill="hold">
                      <p:stCondLst>
                        <p:cond delay="indefinite"/>
                      </p:stCondLst>
                      <p:childTnLst>
                        <p:par>
                          <p:cTn id="44" fill="hold">
                            <p:stCondLst>
                              <p:cond delay="0"/>
                            </p:stCondLst>
                            <p:childTnLst>
                              <p:par>
                                <p:cTn id="4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4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47" dur="500"/>
                                        <p:tgtEl>
                                          <p:spTgt spid="27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48" fill="hold">
                      <p:stCondLst>
                        <p:cond delay="indefinite"/>
                      </p:stCondLst>
                      <p:childTnLst>
                        <p:par>
                          <p:cTn id="49" fill="hold">
                            <p:stCondLst>
                              <p:cond delay="0"/>
                            </p:stCondLst>
                            <p:childTnLst>
                              <p:par>
                                <p:cTn id="5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5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5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3" grpId="0"/>
      <p:bldP spid="25" grpId="0"/>
      <p:bldP spid="27" grpId="0"/>
      <p:bldP spid="8" grpId="0"/>
    </p:bldLst>
  </p:timing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Τίτλος 3">
            <a:extLst>
              <a:ext uri="{FF2B5EF4-FFF2-40B4-BE49-F238E27FC236}">
                <a16:creationId xmlns:a16="http://schemas.microsoft.com/office/drawing/2014/main" id="{B2FA7148-B9F9-724E-AF8F-0C400034B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Απασχόληση - Κοινωνική Ένταξη</a:t>
            </a:r>
          </a:p>
        </p:txBody>
      </p:sp>
      <p:sp>
        <p:nvSpPr>
          <p:cNvPr id="6" name="Ορθογώνιο 5"/>
          <p:cNvSpPr/>
          <p:nvPr/>
        </p:nvSpPr>
        <p:spPr>
          <a:xfrm>
            <a:off x="2103120" y="3994466"/>
            <a:ext cx="11100816" cy="71096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9BBB59">
                  <a:lumMod val="50000"/>
                </a:srgbClr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Ωφελούμενοι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  <a:endParaRPr lang="en-US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9BBB59">
                  <a:lumMod val="50000"/>
                </a:srgbClr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137.000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άνεργοι και μακροχρόνια άνεργοι</a:t>
            </a: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9BBB59">
                  <a:lumMod val="50000"/>
                </a:srgbClr>
              </a:buClr>
            </a:pP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9BBB59">
                  <a:lumMod val="50000"/>
                </a:srgbClr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5.500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άνεργοι ευπαθών και ευάλωτων κοινωνικών ομάδων</a:t>
            </a: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9BBB59">
                  <a:lumMod val="50000"/>
                </a:srgbClr>
              </a:buClr>
            </a:pP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9BBB59">
                  <a:lumMod val="50000"/>
                </a:srgbClr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204.000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νέοι 15-29 ετών που βρίσκονται εκτός απασχόλησης, εκπαίδευσης και κατάρτισης</a:t>
            </a: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9BBB59">
                  <a:lumMod val="50000"/>
                </a:srgbClr>
              </a:buClr>
            </a:pP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9BBB59">
                  <a:lumMod val="50000"/>
                </a:srgbClr>
              </a:buClr>
            </a:pP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112.000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ργαζόμενοι/ αυτοαπασχολούμενοι με επισφαλή θέση εργασίας ή σε πληγέντες από την πανδημία και έκτακτες κρίσεις τομείς</a:t>
            </a:r>
          </a:p>
          <a:p>
            <a:pPr defTabSz="914400" fontAlgn="base" hangingPunct="1">
              <a:spcBef>
                <a:spcPts val="300"/>
              </a:spcBef>
              <a:spcAft>
                <a:spcPts val="300"/>
              </a:spcAft>
              <a:buClr>
                <a:srgbClr val="9BBB59">
                  <a:lumMod val="50000"/>
                </a:srgbClr>
              </a:buClr>
            </a:pPr>
            <a:endParaRPr lang="el-GR" sz="3200" kern="1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Ορθογώνιο 22"/>
          <p:cNvSpPr/>
          <p:nvPr/>
        </p:nvSpPr>
        <p:spPr>
          <a:xfrm>
            <a:off x="14761126" y="3577796"/>
            <a:ext cx="7302620" cy="2062103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n-US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3.500 επιχειρήσεις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υποστηρίζονται για τη 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ημιουργία νέων βιώσιμων θέσεων εργασίας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και την 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σαρμογή τους στις αλλαγές</a:t>
            </a:r>
          </a:p>
        </p:txBody>
      </p:sp>
      <p:sp>
        <p:nvSpPr>
          <p:cNvPr id="24" name="Ορθογώνιο 23"/>
          <p:cNvSpPr/>
          <p:nvPr/>
        </p:nvSpPr>
        <p:spPr>
          <a:xfrm>
            <a:off x="7443424" y="5012143"/>
            <a:ext cx="14227856" cy="1077218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el-GR" sz="32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endParaRPr lang="el-GR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5" name="Ορθογώνιο 34"/>
          <p:cNvSpPr/>
          <p:nvPr/>
        </p:nvSpPr>
        <p:spPr>
          <a:xfrm>
            <a:off x="14440836" y="6373364"/>
            <a:ext cx="7943200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fontAlgn="auto">
              <a:spcBef>
                <a:spcPts val="300"/>
              </a:spcBef>
              <a:spcAft>
                <a:spcPts val="300"/>
              </a:spcAft>
              <a:buClr>
                <a:srgbClr val="4BACC6"/>
              </a:buClr>
              <a:defRPr/>
            </a:pPr>
            <a:r>
              <a:rPr lang="en-US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9.150</a:t>
            </a:r>
            <a:r>
              <a:rPr lang="en-US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άνεργες και εργαζόμενες γυναίκες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υποστηρίζονται για την </a:t>
            </a:r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ισότιμη συμμετοχή τους  στην αγορά</a:t>
            </a:r>
            <a:endParaRPr lang="el-GR" sz="32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Ορθογώνιο 1"/>
          <p:cNvSpPr/>
          <p:nvPr/>
        </p:nvSpPr>
        <p:spPr>
          <a:xfrm>
            <a:off x="14440836" y="8521741"/>
            <a:ext cx="8338551" cy="156966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3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&gt;13.800 μετανάστες/δικαιούχοι διεθνούς προστασίας </a:t>
            </a:r>
            <a:r>
              <a:rPr lang="el-GR" sz="3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πωφελούνται από δράσεις κοινωνικής και επαγγελματικής ένταξης </a:t>
            </a:r>
            <a:endParaRPr lang="el-GR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11" name="Ομάδα 10"/>
          <p:cNvGrpSpPr/>
          <p:nvPr/>
        </p:nvGrpSpPr>
        <p:grpSpPr>
          <a:xfrm>
            <a:off x="1041598" y="2391123"/>
            <a:ext cx="22815916" cy="8947437"/>
            <a:chOff x="1041598" y="2391123"/>
            <a:chExt cx="22815916" cy="8947437"/>
          </a:xfrm>
        </p:grpSpPr>
        <p:grpSp>
          <p:nvGrpSpPr>
            <p:cNvPr id="31" name="Ομάδα 30"/>
            <p:cNvGrpSpPr/>
            <p:nvPr/>
          </p:nvGrpSpPr>
          <p:grpSpPr>
            <a:xfrm>
              <a:off x="1887753" y="2560320"/>
              <a:ext cx="21228117" cy="8778240"/>
              <a:chOff x="1887754" y="3093788"/>
              <a:chExt cx="6489943" cy="8244772"/>
            </a:xfrm>
          </p:grpSpPr>
          <p:sp>
            <p:nvSpPr>
              <p:cNvPr id="7" name="Ορθογώνιο 6"/>
              <p:cNvSpPr/>
              <p:nvPr/>
            </p:nvSpPr>
            <p:spPr>
              <a:xfrm>
                <a:off x="1887754" y="3104175"/>
                <a:ext cx="6489943" cy="549237"/>
              </a:xfrm>
              <a:prstGeom prst="rect">
                <a:avLst/>
              </a:prstGeom>
              <a:solidFill>
                <a:srgbClr val="21D6DF"/>
              </a:solidFill>
              <a:ln>
                <a:noFill/>
              </a:ln>
            </p:spPr>
            <p:txBody>
              <a:bodyPr wrap="square">
                <a:spAutoFit/>
              </a:bodyPr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r>
                  <a:rPr kumimoji="0" lang="el-GR" sz="3200" b="1" i="0" u="none" strike="noStrike" kern="1200" cap="none" spc="0" normalizeH="0" baseline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Απασχόληση – Κοινωνική</a:t>
                </a:r>
                <a:r>
                  <a:rPr kumimoji="0" lang="el-GR" sz="3200" b="1" i="0" u="none" strike="noStrike" kern="1200" cap="none" spc="0" normalizeH="0" noProof="0" dirty="0">
                    <a:ln>
                      <a:noFill/>
                    </a:ln>
                    <a:solidFill>
                      <a:prstClr val="black"/>
                    </a:solidFill>
                    <a:effectLst/>
                    <a:uLnTx/>
                    <a:uFillTx/>
                    <a:latin typeface="Arial" panose="020B0604020202020204" pitchFamily="34" charset="0"/>
                    <a:cs typeface="Arial" panose="020B0604020202020204" pitchFamily="34" charset="0"/>
                  </a:rPr>
                  <a:t> Ένταξη</a:t>
                </a:r>
                <a:endParaRPr kumimoji="0" lang="el-GR" sz="3200" b="1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  <p:sp>
            <p:nvSpPr>
              <p:cNvPr id="8" name="Ορθογώνιο 7"/>
              <p:cNvSpPr/>
              <p:nvPr/>
            </p:nvSpPr>
            <p:spPr>
              <a:xfrm>
                <a:off x="1887754" y="3093788"/>
                <a:ext cx="6476709" cy="8244772"/>
              </a:xfrm>
              <a:prstGeom prst="rect">
                <a:avLst/>
              </a:prstGeom>
              <a:noFill/>
              <a:ln w="25400" cap="flat" cmpd="sng" algn="ctr">
                <a:solidFill>
                  <a:srgbClr val="21D6DF"/>
                </a:solidFill>
                <a:prstDash val="solid"/>
              </a:ln>
              <a:effectLst/>
            </p:spPr>
            <p:txBody>
              <a:bodyPr rtlCol="0" anchor="ctr"/>
              <a:lstStyle/>
              <a:p>
                <a:pPr marL="0" marR="0" lvl="0" indent="0" defTabSz="914400" eaLnBrk="1" fontAlgn="base" latinLnBrk="0" hangingPunct="1">
                  <a:lnSpc>
                    <a:spcPct val="100000"/>
                  </a:lnSpc>
                  <a:spcBef>
                    <a:spcPct val="0"/>
                  </a:spcBef>
                  <a:spcAft>
                    <a:spcPct val="0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l-GR" sz="3200" b="0" i="0" u="none" strike="noStrike" kern="1200" cap="none" spc="0" normalizeH="0" baseline="0" noProof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cs typeface="Arial" panose="020B0604020202020204" pitchFamily="34" charset="0"/>
                </a:endParaRPr>
              </a:p>
            </p:txBody>
          </p:sp>
        </p:grpSp>
        <p:pic>
          <p:nvPicPr>
            <p:cNvPr id="25" name="Picture 9" descr="A picture containing text, vector graphics&#10;&#10;Description automatically generated">
              <a:extLst>
                <a:ext uri="{FF2B5EF4-FFF2-40B4-BE49-F238E27FC236}">
                  <a16:creationId xmlns:a16="http://schemas.microsoft.com/office/drawing/2014/main" id="{68CA89DF-9BB0-54D3-13E9-CDFD8155B315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41598" y="2391123"/>
              <a:ext cx="1605735" cy="1605735"/>
            </a:xfrm>
            <a:prstGeom prst="rect">
              <a:avLst/>
            </a:prstGeom>
          </p:spPr>
        </p:pic>
        <p:pic>
          <p:nvPicPr>
            <p:cNvPr id="5" name="Εικόνα 4"/>
            <p:cNvPicPr>
              <a:picLocks noChangeAspect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417514" y="2410274"/>
              <a:ext cx="1440000" cy="1440000"/>
            </a:xfrm>
            <a:prstGeom prst="rect">
              <a:avLst/>
            </a:prstGeom>
          </p:spPr>
        </p:pic>
      </p:grpSp>
      <p:sp>
        <p:nvSpPr>
          <p:cNvPr id="3" name="Ορθογώνιο 2"/>
          <p:cNvSpPr/>
          <p:nvPr/>
        </p:nvSpPr>
        <p:spPr>
          <a:xfrm>
            <a:off x="14075864" y="10575459"/>
            <a:ext cx="8996719" cy="58477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9 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δράσεις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οινωνικής</a:t>
            </a:r>
            <a:r>
              <a:rPr lang="el-GR" sz="3200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el-GR" sz="3200" b="1" kern="12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καινοτομίας</a:t>
            </a:r>
            <a:endParaRPr lang="el-GR" sz="32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73473727"/>
      </p:ext>
    </p:extLst>
  </p:cSld>
  <p:clrMapOvr>
    <a:masterClrMapping/>
  </p:clrMapOvr>
  <p:transition spd="med"/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0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7" dur="500"/>
                                        <p:tgtEl>
                                          <p:spTgt spid="1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8" fill="hold">
                      <p:stCondLst>
                        <p:cond delay="indefinite"/>
                      </p:stCondLst>
                      <p:childTnLst>
                        <p:par>
                          <p:cTn id="9" fill="hold">
                            <p:stCondLst>
                              <p:cond delay="0"/>
                            </p:stCondLst>
                            <p:childTnLst>
                              <p:par>
                                <p:cTn id="1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2" dur="500"/>
                                        <p:tgtEl>
                                          <p:spTgt spid="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17" dur="500"/>
                                        <p:tgtEl>
                                          <p:spTgt spid="2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8" fill="hold">
                      <p:stCondLst>
                        <p:cond delay="indefinite"/>
                      </p:stCondLst>
                      <p:childTnLst>
                        <p:par>
                          <p:cTn id="19" fill="hold">
                            <p:stCondLst>
                              <p:cond delay="0"/>
                            </p:stCondLst>
                            <p:childTnLst>
                              <p:par>
                                <p:cTn id="2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2" dur="5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3" fill="hold">
                      <p:stCondLst>
                        <p:cond delay="indefinite"/>
                      </p:stCondLst>
                      <p:childTnLst>
                        <p:par>
                          <p:cTn id="24" fill="hold">
                            <p:stCondLst>
                              <p:cond delay="0"/>
                            </p:stCondLst>
                            <p:childTnLst>
                              <p:par>
                                <p:cTn id="25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27" dur="500"/>
                                        <p:tgtEl>
                                          <p:spTgt spid="2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28" fill="hold">
                      <p:stCondLst>
                        <p:cond delay="indefinite"/>
                      </p:stCondLst>
                      <p:childTnLst>
                        <p:par>
                          <p:cTn id="29" fill="hold">
                            <p:stCondLst>
                              <p:cond delay="0"/>
                            </p:stCondLst>
                            <p:childTnLst>
                              <p:par>
                                <p:cTn id="30" presetID="10" presetClass="entr" presetSubtype="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3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fade">
                                      <p:cBhvr>
                                        <p:cTn id="32" dur="500"/>
                                        <p:tgtEl>
                                          <p:spTgt spid="3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6" grpId="0"/>
      <p:bldP spid="23" grpId="0"/>
      <p:bldP spid="35" grpId="0"/>
      <p:bldP spid="2" grpId="0"/>
      <p:bldP spid="3" grpId="0"/>
    </p:bldLst>
  </p:timing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ου βρισκόμαστε σήμερα - Επόμενα βήματα </a:t>
            </a:r>
          </a:p>
        </p:txBody>
      </p:sp>
      <p:sp>
        <p:nvSpPr>
          <p:cNvPr id="3" name="Θέση κειμένου 2"/>
          <p:cNvSpPr>
            <a:spLocks noGrp="1"/>
          </p:cNvSpPr>
          <p:nvPr>
            <p:ph type="body" idx="1"/>
          </p:nvPr>
        </p:nvSpPr>
        <p:spPr>
          <a:xfrm>
            <a:off x="1647676" y="2549770"/>
            <a:ext cx="21482050" cy="1019908"/>
          </a:xfrm>
        </p:spPr>
        <p:txBody>
          <a:bodyPr/>
          <a:lstStyle/>
          <a:p>
            <a:pPr>
              <a:lnSpc>
                <a:spcPts val="4400"/>
              </a:lnSpc>
              <a:spcAft>
                <a:spcPts val="1800"/>
              </a:spcAft>
            </a:pPr>
            <a:r>
              <a:rPr lang="el-GR" dirty="0"/>
              <a:t>Έχουν υποβληθεί στην </a:t>
            </a:r>
            <a:r>
              <a:rPr lang="en-US" dirty="0"/>
              <a:t>SFC </a:t>
            </a:r>
            <a:r>
              <a:rPr lang="el-GR" dirty="0"/>
              <a:t>τα Τομεακά Προγράμματα:</a:t>
            </a:r>
          </a:p>
          <a:p>
            <a:pPr lvl="1">
              <a:lnSpc>
                <a:spcPts val="3000"/>
              </a:lnSpc>
              <a:spcAft>
                <a:spcPts val="1800"/>
              </a:spcAft>
            </a:pPr>
            <a:r>
              <a:rPr lang="el-GR" sz="2800" dirty="0"/>
              <a:t>Ανταγωνιστικότητα</a:t>
            </a:r>
          </a:p>
          <a:p>
            <a:pPr lvl="1">
              <a:lnSpc>
                <a:spcPts val="3000"/>
              </a:lnSpc>
              <a:spcAft>
                <a:spcPts val="1800"/>
              </a:spcAft>
            </a:pPr>
            <a:r>
              <a:rPr lang="el-GR" sz="2800" dirty="0"/>
              <a:t>Πολιτική Προστασία</a:t>
            </a:r>
          </a:p>
          <a:p>
            <a:pPr lvl="1">
              <a:lnSpc>
                <a:spcPts val="3000"/>
              </a:lnSpc>
              <a:spcAft>
                <a:spcPts val="1800"/>
              </a:spcAft>
            </a:pPr>
            <a:r>
              <a:rPr lang="el-GR" sz="2800" dirty="0"/>
              <a:t>Δίκαιη Αναπτυξιακή Μετάβαση </a:t>
            </a:r>
          </a:p>
          <a:p>
            <a:pPr>
              <a:lnSpc>
                <a:spcPts val="4400"/>
              </a:lnSpc>
              <a:spcAft>
                <a:spcPts val="1800"/>
              </a:spcAft>
            </a:pPr>
            <a:r>
              <a:rPr lang="el-GR" b="1" dirty="0">
                <a:solidFill>
                  <a:srgbClr val="075091"/>
                </a:solidFill>
              </a:rPr>
              <a:t>ΕΓΚΡΙΘΗΚΕ από την ΕΕ χθες, 15.06.22 το Πρόγραμμα της ΑΝΤΑΓΩΝΙΣΤΙΚΟΤΗΤΑΣ και άμεσα αναμένεται η έγκριση των Προγραμμάτων Πολιτική Προστασία και Δίκαιη Αναπτυξιακή Μετάβαση </a:t>
            </a:r>
          </a:p>
          <a:p>
            <a:pPr>
              <a:lnSpc>
                <a:spcPts val="4400"/>
              </a:lnSpc>
              <a:spcAft>
                <a:spcPts val="1800"/>
              </a:spcAft>
            </a:pPr>
            <a:r>
              <a:rPr lang="el-GR" dirty="0"/>
              <a:t>Ολοκληρώνονται τις προσεχείς ημέρες οι διαπραγματεύσεις για τα Τομεακά Προγράμματα: </a:t>
            </a:r>
          </a:p>
          <a:p>
            <a:pPr lvl="1">
              <a:lnSpc>
                <a:spcPts val="3000"/>
              </a:lnSpc>
              <a:spcAft>
                <a:spcPts val="1800"/>
              </a:spcAft>
            </a:pPr>
            <a:r>
              <a:rPr lang="el-GR" sz="2800" dirty="0"/>
              <a:t>Περιβάλλον και Κλιματικής Αλλαγής, </a:t>
            </a:r>
          </a:p>
          <a:p>
            <a:pPr lvl="1">
              <a:lnSpc>
                <a:spcPts val="3000"/>
              </a:lnSpc>
              <a:spcAft>
                <a:spcPts val="1800"/>
              </a:spcAft>
            </a:pPr>
            <a:r>
              <a:rPr lang="el-GR" sz="2800" dirty="0"/>
              <a:t>Μεταφορές  </a:t>
            </a:r>
          </a:p>
          <a:p>
            <a:pPr lvl="1">
              <a:lnSpc>
                <a:spcPts val="3000"/>
              </a:lnSpc>
              <a:spcAft>
                <a:spcPts val="1800"/>
              </a:spcAft>
            </a:pPr>
            <a:r>
              <a:rPr lang="el-GR" sz="2800" dirty="0"/>
              <a:t>Αλιεία</a:t>
            </a:r>
          </a:p>
          <a:p>
            <a:pPr>
              <a:lnSpc>
                <a:spcPts val="4400"/>
              </a:lnSpc>
              <a:spcAft>
                <a:spcPts val="1800"/>
              </a:spcAft>
            </a:pPr>
            <a:r>
              <a:rPr lang="el-GR" dirty="0"/>
              <a:t>Άμεσα </a:t>
            </a:r>
            <a:r>
              <a:rPr lang="el-GR" dirty="0" err="1"/>
              <a:t>αναμένετα</a:t>
            </a:r>
            <a:r>
              <a:rPr lang="el-GR" dirty="0"/>
              <a:t> </a:t>
            </a:r>
            <a:r>
              <a:rPr lang="el-GR" dirty="0" err="1"/>
              <a:t>ιη</a:t>
            </a:r>
            <a:r>
              <a:rPr lang="el-GR" dirty="0"/>
              <a:t> ολοκλήρωση διαπραγματεύσεων με την ΕΕ για τα Περιφερειακά Προγράμματα και η άμεση υποβολή τους</a:t>
            </a:r>
          </a:p>
          <a:p>
            <a:endParaRPr lang="el-GR" dirty="0"/>
          </a:p>
          <a:p>
            <a:endParaRPr lang="el-GR" dirty="0"/>
          </a:p>
          <a:p>
            <a:endParaRPr lang="el-GR" dirty="0"/>
          </a:p>
        </p:txBody>
      </p:sp>
      <p:sp>
        <p:nvSpPr>
          <p:cNvPr id="4" name="TextBox 3"/>
          <p:cNvSpPr txBox="1"/>
          <p:nvPr/>
        </p:nvSpPr>
        <p:spPr>
          <a:xfrm>
            <a:off x="12725984" y="3059726"/>
            <a:ext cx="10643970" cy="194925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457200" lvl="1" indent="-457200" algn="l">
              <a:lnSpc>
                <a:spcPts val="3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sz="2800" dirty="0"/>
              <a:t>Τεχνική Βοήθεια και Υποστήριξη Δικαιούχων</a:t>
            </a:r>
          </a:p>
          <a:p>
            <a:pPr marL="457200" lvl="1" indent="-457200" algn="l">
              <a:lnSpc>
                <a:spcPts val="3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sz="2800" dirty="0"/>
              <a:t>Ανθρώπινο Δυναμικό και Κοινωνική Συνοχή</a:t>
            </a:r>
          </a:p>
          <a:p>
            <a:pPr marL="457200" lvl="1" indent="-457200" algn="l">
              <a:lnSpc>
                <a:spcPts val="30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sz="2800" dirty="0"/>
              <a:t>Ψηφιακός Μετασχηματισμός</a:t>
            </a:r>
          </a:p>
        </p:txBody>
      </p:sp>
    </p:spTree>
    <p:extLst>
      <p:ext uri="{BB962C8B-B14F-4D97-AF65-F5344CB8AC3E}">
        <p14:creationId xmlns:p14="http://schemas.microsoft.com/office/powerpoint/2010/main" val="2189010275"/>
      </p:ext>
    </p:extLst>
  </p:cSld>
  <p:clrMapOvr>
    <a:masterClrMapping/>
  </p:clrMapOvr>
  <p:transition spd="med"/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087FDB06-0A52-504F-9F48-A4C3325721B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38696" y="4098383"/>
            <a:ext cx="24371299" cy="1169193"/>
          </a:xfrm>
        </p:spPr>
        <p:txBody>
          <a:bodyPr/>
          <a:lstStyle/>
          <a:p>
            <a:r>
              <a:rPr lang="el-GR" dirty="0"/>
              <a:t>ΝΕΟΣ Νόμος ΕΣΠΑ 4914/2022  -21.03.22 (Α’ 61)</a:t>
            </a:r>
            <a:br>
              <a:rPr lang="el-GR" dirty="0"/>
            </a:br>
            <a:r>
              <a:rPr lang="el-GR" dirty="0"/>
              <a:t>«Διαχείριση, έλεγχος και εφαρμογή αναπτυξιακών παρεμβάσεων για την Προγραμματική Περίοδο 2021-2027»</a:t>
            </a:r>
            <a:br>
              <a:rPr lang="el-GR" dirty="0"/>
            </a:b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254210679"/>
      </p:ext>
    </p:extLst>
  </p:cSld>
  <p:clrMapOvr>
    <a:masterClrMapping/>
  </p:clrMapOvr>
  <p:transition spd="med"/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7364DAB-2600-5F9A-63EE-CABDAF319E4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Αντικείμενο – Βασικά χαρακτηριστικά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5DA26E3-EF01-9CB2-95AC-15E0A1D78307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38602" y="2543694"/>
            <a:ext cx="21482050" cy="5998727"/>
          </a:xfrm>
        </p:spPr>
        <p:txBody>
          <a:bodyPr/>
          <a:lstStyle/>
          <a:p>
            <a:pPr>
              <a:lnSpc>
                <a:spcPts val="4600"/>
              </a:lnSpc>
              <a:spcAft>
                <a:spcPts val="1800"/>
              </a:spcAft>
            </a:pPr>
            <a:r>
              <a:rPr lang="el-GR" dirty="0"/>
              <a:t>Ρύθμιση θεμάτων που αφορούν στη διαχείριση, τον έλεγχο και την εφαρμογή των αναπτυξιακών παρεμβάσεων για την Προγραμματική Περίοδο 2021-2027</a:t>
            </a:r>
          </a:p>
          <a:p>
            <a:pPr>
              <a:lnSpc>
                <a:spcPts val="4600"/>
              </a:lnSpc>
              <a:spcAft>
                <a:spcPts val="1800"/>
              </a:spcAft>
            </a:pPr>
            <a:r>
              <a:rPr lang="el-GR" dirty="0"/>
              <a:t>Αντιμετώπιση επιμέρους δυσλειτουργιών προηγούμενων προγραμματικών περιόδων, με βασικές επιδιώξεις:</a:t>
            </a:r>
          </a:p>
          <a:p>
            <a:pPr marL="1143000" indent="-685800">
              <a:lnSpc>
                <a:spcPts val="46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dirty="0"/>
              <a:t>αποτελεσματική διάχυση κοινοτικών πόρων, </a:t>
            </a:r>
          </a:p>
          <a:p>
            <a:pPr marL="1143000" indent="-685800">
              <a:lnSpc>
                <a:spcPts val="46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dirty="0"/>
              <a:t>ελαχιστοποίηση καθυστερήσεων στις διαδικασίες παραγωγής έργων, και έγκαιρη ωρίμανση έργων, </a:t>
            </a:r>
          </a:p>
          <a:p>
            <a:pPr marL="1143000" indent="-685800">
              <a:lnSpc>
                <a:spcPts val="46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dirty="0"/>
              <a:t>μείωση γραφειοκρατίας</a:t>
            </a:r>
            <a:endParaRPr lang="el-GR" dirty="0">
              <a:highlight>
                <a:srgbClr val="FFFF00"/>
              </a:highlight>
            </a:endParaRPr>
          </a:p>
          <a:p>
            <a:pPr marL="1143000" indent="-685800">
              <a:lnSpc>
                <a:spcPts val="46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dirty="0"/>
              <a:t>εφαρμογή συνεκτικής πολιτικής υποστήριξης ειδικών ομάδων δικαιούχων</a:t>
            </a:r>
          </a:p>
          <a:p>
            <a:pPr>
              <a:lnSpc>
                <a:spcPts val="4600"/>
              </a:lnSpc>
              <a:spcAft>
                <a:spcPts val="1800"/>
              </a:spcAft>
            </a:pPr>
            <a:r>
              <a:rPr lang="el-GR" b="1" dirty="0"/>
              <a:t>Διατήρηση σε σημαντικό βαθμό των διατάξεων εφαρμογής του θεσμικού πλαισίου για το ΕΣΠΑ 2014-2020 (Ν.4314/2014)</a:t>
            </a:r>
          </a:p>
          <a:p>
            <a:pPr>
              <a:lnSpc>
                <a:spcPts val="4600"/>
              </a:lnSpc>
              <a:spcAft>
                <a:spcPts val="1800"/>
              </a:spcAft>
            </a:pPr>
            <a:r>
              <a:rPr lang="el-GR" dirty="0"/>
              <a:t>Ενσωμάτωση στο εθνικό δίκαιο των απαιτήσεων και των απλουστεύσεων των Κανονισμών που αφορούν στο Σύστημα Διαχείρισης και Ελέγχου (ΣΔΕ) της περιόδου 2021-2027 </a:t>
            </a:r>
          </a:p>
          <a:p>
            <a:pPr>
              <a:lnSpc>
                <a:spcPts val="4600"/>
              </a:lnSpc>
              <a:spcAft>
                <a:spcPts val="1800"/>
              </a:spcAft>
            </a:pPr>
            <a:endParaRPr lang="el-GR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63684020"/>
      </p:ext>
    </p:extLst>
  </p:cSld>
  <p:clrMapOvr>
    <a:masterClrMapping/>
  </p:clrMapOvr>
  <p:transition spd="med"/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1253E6C-3184-30F4-DF6E-4BA43557FF4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Κύριες αλλαγές/βελτιώσεις του θεσμικού πλαισίου (1/2)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D3E2957-5E53-B2C1-97F1-AC5677916DB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294565" y="2504591"/>
            <a:ext cx="21482050" cy="8608886"/>
          </a:xfrm>
        </p:spPr>
        <p:txBody>
          <a:bodyPr/>
          <a:lstStyle/>
          <a:p>
            <a:pPr>
              <a:lnSpc>
                <a:spcPts val="4600"/>
              </a:lnSpc>
              <a:spcBef>
                <a:spcPts val="0"/>
              </a:spcBef>
              <a:spcAft>
                <a:spcPts val="1800"/>
              </a:spcAft>
            </a:pPr>
            <a:r>
              <a:rPr lang="el-GR" dirty="0"/>
              <a:t>Θέσπιση </a:t>
            </a:r>
            <a:r>
              <a:rPr lang="el-GR" b="1" dirty="0">
                <a:solidFill>
                  <a:srgbClr val="075091"/>
                </a:solidFill>
              </a:rPr>
              <a:t>Συμβούλιου Παρακολούθησης και Συντονισμού ΕΣΠA</a:t>
            </a:r>
          </a:p>
          <a:p>
            <a:pPr>
              <a:lnSpc>
                <a:spcPts val="4600"/>
              </a:lnSpc>
              <a:spcBef>
                <a:spcPts val="0"/>
              </a:spcBef>
              <a:spcAft>
                <a:spcPts val="1800"/>
              </a:spcAft>
            </a:pPr>
            <a:r>
              <a:rPr lang="el-GR" dirty="0"/>
              <a:t>Δημιουργία νέας ΕΥ Τεχνικής Βοήθειας και Υποστήριξης Δικαιούχων</a:t>
            </a:r>
          </a:p>
          <a:p>
            <a:pPr>
              <a:lnSpc>
                <a:spcPts val="4600"/>
              </a:lnSpc>
              <a:spcBef>
                <a:spcPts val="0"/>
              </a:spcBef>
              <a:spcAft>
                <a:spcPts val="1800"/>
              </a:spcAft>
            </a:pPr>
            <a:r>
              <a:rPr lang="el-GR" dirty="0"/>
              <a:t>Αναδιάρθρωση Εθνικής Αρχής Συντονισμού</a:t>
            </a:r>
          </a:p>
          <a:p>
            <a:pPr>
              <a:lnSpc>
                <a:spcPts val="4600"/>
              </a:lnSpc>
              <a:spcBef>
                <a:spcPts val="0"/>
              </a:spcBef>
              <a:spcAft>
                <a:spcPts val="1800"/>
              </a:spcAft>
            </a:pPr>
            <a:r>
              <a:rPr lang="el-GR" dirty="0"/>
              <a:t>Διατήρηση Επιτελικών Δομών στα Υπουργεία, με μία δομή ανά Υπουργείο</a:t>
            </a:r>
          </a:p>
          <a:p>
            <a:pPr>
              <a:lnSpc>
                <a:spcPts val="4600"/>
              </a:lnSpc>
              <a:spcBef>
                <a:spcPts val="0"/>
              </a:spcBef>
              <a:spcAft>
                <a:spcPts val="1800"/>
              </a:spcAft>
            </a:pPr>
            <a:r>
              <a:rPr lang="el-GR" dirty="0"/>
              <a:t>Απλοποίηση της διαδικασίας εξειδίκευσης Προγράμματος</a:t>
            </a:r>
          </a:p>
          <a:p>
            <a:pPr>
              <a:lnSpc>
                <a:spcPts val="4600"/>
              </a:lnSpc>
              <a:spcBef>
                <a:spcPts val="0"/>
              </a:spcBef>
              <a:spcAft>
                <a:spcPts val="1800"/>
              </a:spcAft>
            </a:pPr>
            <a:r>
              <a:rPr lang="el-GR" dirty="0"/>
              <a:t>Πλήρως ψηφιοποιημένες διαδικασίες και Ολοκληρωμένα Πληροφοριακά Συστήματα :</a:t>
            </a:r>
          </a:p>
          <a:p>
            <a:pPr marL="1143000" indent="-685800">
              <a:lnSpc>
                <a:spcPts val="46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dirty="0"/>
              <a:t>ΟΠΣ, </a:t>
            </a:r>
          </a:p>
          <a:p>
            <a:pPr marL="1143000" indent="-685800">
              <a:lnSpc>
                <a:spcPts val="46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dirty="0"/>
              <a:t>ΟΠΣ-ΠΔΕ ή e-</a:t>
            </a:r>
            <a:r>
              <a:rPr lang="el-GR" dirty="0" err="1"/>
              <a:t>pde</a:t>
            </a:r>
            <a:endParaRPr lang="el-GR" dirty="0"/>
          </a:p>
          <a:p>
            <a:pPr marL="1143000" indent="-685800">
              <a:lnSpc>
                <a:spcPts val="46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dirty="0"/>
              <a:t>ΟΠΣΚΕ  (ΟΠΣ Κρατικών Ενισχύσεων)</a:t>
            </a:r>
          </a:p>
          <a:p>
            <a:pPr marL="1143000" indent="-685800">
              <a:lnSpc>
                <a:spcPts val="4600"/>
              </a:lnSpc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dirty="0"/>
              <a:t>Πληροφοριακό Σύστημα Σώρευσης Κρατικών Ενισχύσεων Ήσσονος Σημασίας «ΠΣΣΚΕΗΣ»</a:t>
            </a:r>
          </a:p>
          <a:p>
            <a:pPr>
              <a:spcBef>
                <a:spcPts val="0"/>
              </a:spcBef>
              <a:spcAft>
                <a:spcPts val="2400"/>
              </a:spcAft>
            </a:pPr>
            <a:endParaRPr lang="el-GR" dirty="0"/>
          </a:p>
          <a:p>
            <a:pPr>
              <a:spcBef>
                <a:spcPts val="0"/>
              </a:spcBef>
              <a:spcAft>
                <a:spcPts val="2400"/>
              </a:spcAft>
            </a:pPr>
            <a:endParaRPr lang="el-GR" dirty="0"/>
          </a:p>
          <a:p>
            <a:pPr>
              <a:spcBef>
                <a:spcPts val="0"/>
              </a:spcBef>
              <a:spcAft>
                <a:spcPts val="2400"/>
              </a:spcAft>
            </a:pPr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l-GR" dirty="0"/>
          </a:p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5742098"/>
      </p:ext>
    </p:extLst>
  </p:cSld>
  <p:clrMapOvr>
    <a:masterClrMapping/>
  </p:clrMapOvr>
  <p:transition spd="med"/>
</p:sld>
</file>

<file path=ppt/slides/slide2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F9C8F53F-3DB2-CD44-B558-FE8F5A2AADF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43634" y="6567864"/>
            <a:ext cx="16738600" cy="1169193"/>
          </a:xfrm>
        </p:spPr>
        <p:txBody>
          <a:bodyPr/>
          <a:lstStyle/>
          <a:p>
            <a:pPr algn="ctr"/>
            <a:r>
              <a:rPr lang="el-GR" dirty="0"/>
              <a:t>ΕΥΧΑΡΙΣΤΩ</a:t>
            </a:r>
          </a:p>
        </p:txBody>
      </p:sp>
    </p:spTree>
    <p:extLst>
      <p:ext uri="{BB962C8B-B14F-4D97-AF65-F5344CB8AC3E}">
        <p14:creationId xmlns:p14="http://schemas.microsoft.com/office/powerpoint/2010/main" val="261432551"/>
      </p:ext>
    </p:extLst>
  </p:cSld>
  <p:clrMapOvr>
    <a:masterClrMapping/>
  </p:clrMapOvr>
  <p:transition spd="slow"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Τίτλος 15">
            <a:extLst>
              <a:ext uri="{FF2B5EF4-FFF2-40B4-BE49-F238E27FC236}">
                <a16:creationId xmlns:a16="http://schemas.microsoft.com/office/drawing/2014/main" id="{B2929416-EDC1-BB42-A56F-395F9C48BEA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Συνολικοί Διαθέσιμοι Πόροι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A2986767-DC08-BD4B-81E9-8BF79B957057}"/>
              </a:ext>
            </a:extLst>
          </p:cNvPr>
          <p:cNvSpPr txBox="1"/>
          <p:nvPr/>
        </p:nvSpPr>
        <p:spPr>
          <a:xfrm>
            <a:off x="14294409" y="-788662"/>
            <a:ext cx="126334" cy="622431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none" lIns="62524" tIns="62524" rIns="62524" bIns="62524" numCol="1" spcCol="38100" rtlCol="0" anchor="ctr">
            <a:spAutoFit/>
          </a:bodyPr>
          <a:lstStyle/>
          <a:p>
            <a:pPr defTabSz="1016026"/>
            <a:endParaRPr lang="el-GR" sz="3224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BFC5A7B1-CA43-CD3B-26BA-FAA4665D8667}"/>
              </a:ext>
            </a:extLst>
          </p:cNvPr>
          <p:cNvSpPr/>
          <p:nvPr>
            <p:custDataLst>
              <p:tags r:id="rId1"/>
            </p:custDataLst>
          </p:nvPr>
        </p:nvSpPr>
        <p:spPr bwMode="auto">
          <a:xfrm>
            <a:off x="13569483" y="10474828"/>
            <a:ext cx="10140462" cy="1422400"/>
          </a:xfrm>
          <a:prstGeom prst="rect">
            <a:avLst/>
          </a:prstGeom>
          <a:noFill/>
          <a:ln w="28575" cap="flat" cmpd="sng" algn="ctr">
            <a:noFill/>
            <a:prstDash val="solid"/>
            <a:miter lim="800000"/>
            <a:headEnd type="none" w="med" len="med"/>
            <a:tailEnd type="none" w="med" len="med"/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6446">
              <a:solidFill>
                <a:schemeClr val="tx1"/>
              </a:solidFill>
            </a:endParaRPr>
          </a:p>
        </p:txBody>
      </p:sp>
      <p:sp>
        <p:nvSpPr>
          <p:cNvPr id="8" name="Google Shape;703;p5">
            <a:extLst>
              <a:ext uri="{FF2B5EF4-FFF2-40B4-BE49-F238E27FC236}">
                <a16:creationId xmlns:a16="http://schemas.microsoft.com/office/drawing/2014/main" id="{0DA0ADAF-59E6-9CC6-0B44-11B1317A94FA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130137" y="4235167"/>
            <a:ext cx="9614063" cy="4636735"/>
          </a:xfrm>
          <a:prstGeom prst="rect">
            <a:avLst/>
          </a:prstGeom>
          <a:solidFill>
            <a:schemeClr val="accent1">
              <a:lumMod val="7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/>
          <a:lstStyle/>
          <a:p>
            <a:pPr>
              <a:buClrTx/>
            </a:pP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€ 26,</a:t>
            </a:r>
            <a:r>
              <a:rPr lang="en-US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l-GR" b="1" kern="12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δισ. Δημόσια Δαπάνη </a:t>
            </a:r>
          </a:p>
          <a:p>
            <a:pPr marL="1092208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sz="3200" b="1" kern="1200" dirty="0">
                <a:solidFill>
                  <a:schemeClr val="bg1"/>
                </a:solidFill>
              </a:rPr>
              <a:t>€ 20,9 δισ. Ενωσιακή Συμμετοχή </a:t>
            </a:r>
          </a:p>
          <a:p>
            <a:pPr marL="1303242" lvl="1">
              <a:spcBef>
                <a:spcPts val="0"/>
              </a:spcBef>
            </a:pPr>
            <a:r>
              <a:rPr lang="el-GR" sz="3200" b="1" kern="1200" dirty="0">
                <a:solidFill>
                  <a:schemeClr val="bg1"/>
                </a:solidFill>
              </a:rPr>
              <a:t>ΕΤΠΑ , ΤΑ, ΕΚΤ+, ΤΔΜ και ΕΤΘΑΥ)</a:t>
            </a:r>
          </a:p>
          <a:p>
            <a:pPr marL="1092208" lvl="1" indent="-457200">
              <a:spcAft>
                <a:spcPts val="1800"/>
              </a:spcAft>
              <a:buFont typeface="Arial" panose="020B0604020202020204" pitchFamily="34" charset="0"/>
              <a:buChar char="•"/>
            </a:pPr>
            <a:r>
              <a:rPr lang="el-GR" sz="3200" b="1" kern="1200" dirty="0">
                <a:solidFill>
                  <a:schemeClr val="bg1"/>
                </a:solidFill>
              </a:rPr>
              <a:t>€ 5,3 δισ. Εθνική Συνεισφορά</a:t>
            </a:r>
          </a:p>
          <a:p>
            <a:pPr>
              <a:buClrTx/>
            </a:pPr>
            <a:endParaRPr lang="en-US" sz="3938" b="1" kern="1200" dirty="0">
              <a:solidFill>
                <a:schemeClr val="bg1"/>
              </a:solidFill>
            </a:endParaRPr>
          </a:p>
          <a:p>
            <a:pPr>
              <a:buClrTx/>
            </a:pPr>
            <a:endParaRPr lang="en-US" sz="3938" b="1" kern="1200" dirty="0">
              <a:solidFill>
                <a:schemeClr val="bg1"/>
              </a:solidFill>
            </a:endParaRPr>
          </a:p>
          <a:p>
            <a:pPr>
              <a:buClrTx/>
            </a:pPr>
            <a:endParaRPr lang="en-US" sz="3938" b="1" kern="1200" dirty="0">
              <a:solidFill>
                <a:schemeClr val="bg1"/>
              </a:solidFill>
            </a:endParaRPr>
          </a:p>
          <a:p>
            <a:pPr>
              <a:buClrTx/>
            </a:pPr>
            <a:endParaRPr lang="en-US" sz="3938" b="1" kern="1200" dirty="0">
              <a:solidFill>
                <a:schemeClr val="bg1"/>
              </a:solidFill>
            </a:endParaRPr>
          </a:p>
          <a:p>
            <a:pPr>
              <a:buClrTx/>
            </a:pPr>
            <a:endParaRPr lang="el-GR" sz="3938" b="1" kern="1200" dirty="0">
              <a:solidFill>
                <a:schemeClr val="bg1"/>
              </a:solidFill>
            </a:endParaRPr>
          </a:p>
        </p:txBody>
      </p:sp>
      <p:sp>
        <p:nvSpPr>
          <p:cNvPr id="9" name="Text Placeholder 2">
            <a:extLst>
              <a:ext uri="{FF2B5EF4-FFF2-40B4-BE49-F238E27FC236}">
                <a16:creationId xmlns:a16="http://schemas.microsoft.com/office/drawing/2014/main" id="{C9EE1F0A-BFEE-7731-9A57-BFE7E343D3BF}"/>
              </a:ext>
            </a:extLst>
          </p:cNvPr>
          <p:cNvSpPr>
            <a:spLocks noGrp="1"/>
          </p:cNvSpPr>
          <p:nvPr>
            <p:custDataLst>
              <p:tags r:id="rId2"/>
            </p:custDataLst>
          </p:nvPr>
        </p:nvSpPr>
        <p:spPr bwMode="auto">
          <a:xfrm>
            <a:off x="14357574" y="10399568"/>
            <a:ext cx="9046308" cy="472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2800" dirty="0">
                <a:latin typeface="Arial" panose="020B0604020202020204" pitchFamily="34" charset="0"/>
              </a:rPr>
              <a:t>Ενωσιακή Συμμετοχή ΕΤΠΑ, </a:t>
            </a:r>
            <a:r>
              <a:rPr lang="en-US" altLang="en-US" sz="2800" dirty="0">
                <a:latin typeface="Arial" panose="020B0604020202020204" pitchFamily="34" charset="0"/>
              </a:rPr>
              <a:t>T</a:t>
            </a:r>
            <a:r>
              <a:rPr lang="el-GR" altLang="en-US" sz="2800" dirty="0">
                <a:latin typeface="Arial" panose="020B0604020202020204" pitchFamily="34" charset="0"/>
              </a:rPr>
              <a:t>Σ, ΕΚΤ+, ΤΔΜ, ΕΤΘΑΥ</a:t>
            </a:r>
            <a:endParaRPr lang="el-GR" sz="2800" dirty="0">
              <a:latin typeface="Arial" panose="020B0604020202020204" pitchFamily="34" charset="0"/>
            </a:endParaRPr>
          </a:p>
        </p:txBody>
      </p:sp>
      <p:sp>
        <p:nvSpPr>
          <p:cNvPr id="10" name="Text Placeholder 2">
            <a:extLst>
              <a:ext uri="{FF2B5EF4-FFF2-40B4-BE49-F238E27FC236}">
                <a16:creationId xmlns:a16="http://schemas.microsoft.com/office/drawing/2014/main" id="{77D7E6AE-0F91-757E-73CE-E9BE66DA0A62}"/>
              </a:ext>
            </a:extLst>
          </p:cNvPr>
          <p:cNvSpPr>
            <a:spLocks noGrp="1"/>
          </p:cNvSpPr>
          <p:nvPr>
            <p:custDataLst>
              <p:tags r:id="rId3"/>
            </p:custDataLst>
          </p:nvPr>
        </p:nvSpPr>
        <p:spPr bwMode="auto">
          <a:xfrm>
            <a:off x="14357574" y="11095044"/>
            <a:ext cx="9046308" cy="47283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rgbClr r="0" g="0" b="0"/>
                </a:solidFill>
              </a14:hiddenFill>
            </a:ext>
          </a:extLst>
        </p:spPr>
        <p:txBody>
          <a:bodyPr vert="horz" wrap="none" lIns="0" tIns="0" rIns="0" bIns="0" numCol="1" spcCol="0" rtlCol="0" anchor="ctr" anchorCtr="0"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100" kern="1200">
                <a:solidFill>
                  <a:schemeClr val="tx1"/>
                </a:solidFill>
                <a:latin typeface="Helvetica Neue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ct val="0"/>
              </a:spcBef>
              <a:spcAft>
                <a:spcPct val="0"/>
              </a:spcAft>
              <a:buNone/>
            </a:pPr>
            <a:r>
              <a:rPr lang="el-GR" altLang="en-US" sz="2800" dirty="0">
                <a:latin typeface="Arial" panose="020B0604020202020204" pitchFamily="34" charset="0"/>
              </a:rPr>
              <a:t>Εθνική Συνεισφορά </a:t>
            </a:r>
            <a:endParaRPr lang="el-GR" sz="2800" dirty="0">
              <a:latin typeface="Arial" panose="020B0604020202020204" pitchFamily="34" charset="0"/>
            </a:endParaRPr>
          </a:p>
        </p:txBody>
      </p:sp>
      <p:sp>
        <p:nvSpPr>
          <p:cNvPr id="12" name="Ορθογώνιο 11"/>
          <p:cNvSpPr/>
          <p:nvPr/>
        </p:nvSpPr>
        <p:spPr>
          <a:xfrm>
            <a:off x="13819549" y="10429105"/>
            <a:ext cx="381461" cy="398089"/>
          </a:xfrm>
          <a:prstGeom prst="rect">
            <a:avLst/>
          </a:prstGeom>
          <a:solidFill>
            <a:schemeClr val="accent2">
              <a:lumMod val="75000"/>
            </a:schemeClr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l-GR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sp>
        <p:nvSpPr>
          <p:cNvPr id="14" name="Ορθογώνιο 13"/>
          <p:cNvSpPr/>
          <p:nvPr/>
        </p:nvSpPr>
        <p:spPr>
          <a:xfrm>
            <a:off x="13822963" y="11095044"/>
            <a:ext cx="381461" cy="398089"/>
          </a:xfrm>
          <a:prstGeom prst="rect">
            <a:avLst/>
          </a:prstGeom>
          <a:solidFill>
            <a:srgbClr val="0070C0"/>
          </a:solidFill>
          <a:ln w="12700" cap="flat">
            <a:noFill/>
            <a:miter lim="400000"/>
          </a:ln>
          <a:effectLst>
            <a:outerShdw blurRad="38100" dist="25400" dir="5400000" rotWithShape="0">
              <a:srgbClr val="000000">
                <a:alpha val="50000"/>
              </a:srgbClr>
            </a:outerShdw>
          </a:effectLst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endParaRPr kumimoji="0" lang="el-GR" sz="3200" b="0" i="0" u="none" strike="noStrike" cap="none" spc="0" normalizeH="0" baseline="0">
              <a:ln>
                <a:noFill/>
              </a:ln>
              <a:solidFill>
                <a:srgbClr val="FFFFFF"/>
              </a:solidFill>
              <a:effectLst/>
              <a:uFillTx/>
              <a:latin typeface="+mn-lt"/>
              <a:ea typeface="+mn-ea"/>
              <a:cs typeface="+mn-cs"/>
              <a:sym typeface="Helvetica Light"/>
            </a:endParaRPr>
          </a:p>
        </p:txBody>
      </p:sp>
      <p:graphicFrame>
        <p:nvGraphicFramePr>
          <p:cNvPr id="11" name="Content Placeholder 10">
            <a:extLst>
              <a:ext uri="{FF2B5EF4-FFF2-40B4-BE49-F238E27FC236}">
                <a16:creationId xmlns:a16="http://schemas.microsoft.com/office/drawing/2014/main" id="{E83C1073-A69B-DE1E-65A9-990B7C5AA01F}"/>
              </a:ext>
            </a:extLst>
          </p:cNvPr>
          <p:cNvGraphicFramePr>
            <a:graphicFrameLocks noGrp="1"/>
          </p:cNvGraphicFramePr>
          <p:nvPr>
            <p:ph sz="half" idx="15"/>
            <p:extLst>
              <p:ext uri="{D42A27DB-BD31-4B8C-83A1-F6EECF244321}">
                <p14:modId xmlns:p14="http://schemas.microsoft.com/office/powerpoint/2010/main" val="4119978498"/>
              </p:ext>
            </p:extLst>
          </p:nvPr>
        </p:nvGraphicFramePr>
        <p:xfrm>
          <a:off x="12635331" y="2518669"/>
          <a:ext cx="8913227" cy="796083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15" name="TextBox 14">
            <a:extLst>
              <a:ext uri="{FF2B5EF4-FFF2-40B4-BE49-F238E27FC236}">
                <a16:creationId xmlns:a16="http://schemas.microsoft.com/office/drawing/2014/main" id="{4DCDA977-150A-C761-3814-B7B958BBDBA5}"/>
              </a:ext>
            </a:extLst>
          </p:cNvPr>
          <p:cNvSpPr txBox="1"/>
          <p:nvPr/>
        </p:nvSpPr>
        <p:spPr>
          <a:xfrm>
            <a:off x="19443032" y="3591181"/>
            <a:ext cx="1939860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l-G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5,3 δις €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  <p:sp>
        <p:nvSpPr>
          <p:cNvPr id="17" name="TextBox 16">
            <a:extLst>
              <a:ext uri="{FF2B5EF4-FFF2-40B4-BE49-F238E27FC236}">
                <a16:creationId xmlns:a16="http://schemas.microsoft.com/office/drawing/2014/main" id="{ED61AA23-8CD4-411B-41D9-A55949995726}"/>
              </a:ext>
            </a:extLst>
          </p:cNvPr>
          <p:cNvSpPr txBox="1"/>
          <p:nvPr/>
        </p:nvSpPr>
        <p:spPr>
          <a:xfrm>
            <a:off x="12296274" y="8236495"/>
            <a:ext cx="1822951" cy="53347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indent="0" algn="ctr" defTabSz="825500" rtl="0" fontAlgn="auto" latinLnBrk="0" hangingPunct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</a:pPr>
            <a:r>
              <a:rPr kumimoji="0" lang="el-GR" sz="2800" b="1" i="0" u="none" strike="noStrike" cap="none" spc="0" normalizeH="0" baseline="0" dirty="0">
                <a:ln>
                  <a:noFill/>
                </a:ln>
                <a:solidFill>
                  <a:srgbClr val="000000"/>
                </a:solidFill>
                <a:effectLst/>
                <a:uFillTx/>
                <a:latin typeface="Arial" panose="020B0604020202020204" pitchFamily="34" charset="0"/>
                <a:cs typeface="Arial" panose="020B0604020202020204" pitchFamily="34" charset="0"/>
                <a:sym typeface="Helvetica Light"/>
              </a:rPr>
              <a:t>20,9 δις €</a:t>
            </a:r>
            <a:endParaRPr kumimoji="0" lang="en-US" sz="2800" b="1" i="0" u="none" strike="noStrike" cap="none" spc="0" normalizeH="0" baseline="0" dirty="0">
              <a:ln>
                <a:noFill/>
              </a:ln>
              <a:solidFill>
                <a:srgbClr val="000000"/>
              </a:solidFill>
              <a:effectLst/>
              <a:uFillTx/>
              <a:latin typeface="Arial" panose="020B0604020202020204" pitchFamily="34" charset="0"/>
              <a:cs typeface="Arial" panose="020B0604020202020204" pitchFamily="34" charset="0"/>
              <a:sym typeface="Helvetica Light"/>
            </a:endParaRPr>
          </a:p>
        </p:txBody>
      </p:sp>
    </p:spTree>
    <p:extLst>
      <p:ext uri="{BB962C8B-B14F-4D97-AF65-F5344CB8AC3E}">
        <p14:creationId xmlns:p14="http://schemas.microsoft.com/office/powerpoint/2010/main" val="2735255"/>
      </p:ext>
    </p:extLst>
  </p:cSld>
  <p:clrMapOvr>
    <a:masterClrMapping/>
  </p:clrMapOvr>
  <p:transition spd="med"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Τίτλος 3">
            <a:extLst>
              <a:ext uri="{FF2B5EF4-FFF2-40B4-BE49-F238E27FC236}">
                <a16:creationId xmlns:a16="http://schemas.microsoft.com/office/drawing/2014/main" id="{B2FA7148-B9F9-724E-AF8F-0C400034BB0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ΕΣΠΑ 2021-2027 – Βασικές Αρχές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D169C071-0855-9459-86C1-F80FBF6C17F3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1633821" y="2551793"/>
            <a:ext cx="21482050" cy="5589886"/>
          </a:xfrm>
        </p:spPr>
        <p:txBody>
          <a:bodyPr/>
          <a:lstStyle/>
          <a:p>
            <a:pPr marL="457200" indent="-457200">
              <a:lnSpc>
                <a:spcPts val="4600"/>
              </a:lnSpc>
              <a:spcBef>
                <a:spcPts val="0"/>
              </a:spcBef>
              <a:spcAft>
                <a:spcPts val="3600"/>
              </a:spcAft>
              <a:buFont typeface="Wingdings" panose="05000000000000000000" pitchFamily="2" charset="2"/>
              <a:buChar char="q"/>
            </a:pPr>
            <a:r>
              <a:rPr lang="el-GR" dirty="0"/>
              <a:t>Λαμβάνει απόλυτα υπόψη το σύνολο των </a:t>
            </a:r>
            <a:r>
              <a:rPr lang="el-GR" b="1" dirty="0">
                <a:solidFill>
                  <a:schemeClr val="accent1">
                    <a:lumMod val="75000"/>
                  </a:schemeClr>
                </a:solidFill>
              </a:rPr>
              <a:t>Ειδικών για τη Χώρα συστάσεων </a:t>
            </a:r>
            <a:r>
              <a:rPr lang="el-GR" dirty="0"/>
              <a:t>(Έκθεση 2020)</a:t>
            </a:r>
          </a:p>
          <a:p>
            <a:pPr marL="457200" indent="-457200">
              <a:lnSpc>
                <a:spcPts val="4600"/>
              </a:lnSpc>
              <a:spcBef>
                <a:spcPts val="0"/>
              </a:spcBef>
              <a:spcAft>
                <a:spcPts val="3600"/>
              </a:spcAft>
              <a:buFont typeface="Wingdings" panose="05000000000000000000" pitchFamily="2" charset="2"/>
              <a:buChar char="q"/>
            </a:pPr>
            <a:r>
              <a:rPr lang="el-GR" dirty="0"/>
              <a:t>Συμμορφώνεται με την Ευρωπαϊκή Σύμβαση των Δικαιωμάτων του Ανθρώπου</a:t>
            </a:r>
          </a:p>
          <a:p>
            <a:pPr marL="457200" indent="-457200">
              <a:lnSpc>
                <a:spcPts val="4600"/>
              </a:lnSpc>
              <a:spcBef>
                <a:spcPts val="0"/>
              </a:spcBef>
              <a:spcAft>
                <a:spcPts val="3600"/>
              </a:spcAft>
              <a:buFont typeface="Wingdings" panose="05000000000000000000" pitchFamily="2" charset="2"/>
              <a:buChar char="q"/>
            </a:pPr>
            <a:r>
              <a:rPr lang="el-GR" dirty="0"/>
              <a:t>Λαμβάνει υπόψη την </a:t>
            </a:r>
            <a:r>
              <a:rPr lang="el-GR" b="1" dirty="0">
                <a:solidFill>
                  <a:schemeClr val="accent1">
                    <a:lumMod val="75000"/>
                  </a:schemeClr>
                </a:solidFill>
              </a:rPr>
              <a:t>Ευρωπαϊκή Πράσινη Συμφωνία </a:t>
            </a:r>
          </a:p>
          <a:p>
            <a:pPr marL="457200" indent="-457200">
              <a:lnSpc>
                <a:spcPts val="4600"/>
              </a:lnSpc>
              <a:spcBef>
                <a:spcPts val="0"/>
              </a:spcBef>
              <a:spcAft>
                <a:spcPts val="3600"/>
              </a:spcAft>
              <a:buFont typeface="Wingdings" panose="05000000000000000000" pitchFamily="2" charset="2"/>
              <a:buChar char="q"/>
            </a:pPr>
            <a:r>
              <a:rPr lang="el-GR" dirty="0"/>
              <a:t>Υποστηρίζει τις λοιπές Εθνικές Στρατηγικές και τα Εθνικά Σχέδια Δράσης (</a:t>
            </a:r>
            <a:r>
              <a:rPr lang="el-GR" dirty="0" err="1"/>
              <a:t>Enabling</a:t>
            </a:r>
            <a:r>
              <a:rPr lang="el-GR" dirty="0"/>
              <a:t> </a:t>
            </a:r>
            <a:r>
              <a:rPr lang="el-GR" dirty="0" err="1"/>
              <a:t>Conditions</a:t>
            </a:r>
            <a:r>
              <a:rPr lang="el-GR" dirty="0"/>
              <a:t>)</a:t>
            </a:r>
          </a:p>
          <a:p>
            <a:pPr marL="457200" indent="-457200">
              <a:lnSpc>
                <a:spcPts val="4600"/>
              </a:lnSpc>
              <a:spcBef>
                <a:spcPts val="0"/>
              </a:spcBef>
              <a:spcAft>
                <a:spcPts val="3600"/>
              </a:spcAft>
              <a:buFont typeface="Wingdings" panose="05000000000000000000" pitchFamily="2" charset="2"/>
              <a:buChar char="q"/>
            </a:pPr>
            <a:r>
              <a:rPr lang="el-GR" dirty="0"/>
              <a:t>Υποστηρίζει το νέο Ταμείο για την </a:t>
            </a:r>
            <a:r>
              <a:rPr lang="el-GR" b="1" dirty="0">
                <a:solidFill>
                  <a:schemeClr val="accent1">
                    <a:lumMod val="75000"/>
                  </a:schemeClr>
                </a:solidFill>
              </a:rPr>
              <a:t>Δίκαιη Μετάβαση </a:t>
            </a:r>
            <a:r>
              <a:rPr lang="el-GR" dirty="0"/>
              <a:t>(</a:t>
            </a:r>
            <a:r>
              <a:rPr lang="el-GR" dirty="0" err="1"/>
              <a:t>λιγνιτικές</a:t>
            </a:r>
            <a:r>
              <a:rPr lang="el-GR" dirty="0"/>
              <a:t> περιοχές και νησιά)</a:t>
            </a:r>
          </a:p>
          <a:p>
            <a:pPr marL="457200" indent="-457200">
              <a:lnSpc>
                <a:spcPts val="4600"/>
              </a:lnSpc>
              <a:spcBef>
                <a:spcPts val="0"/>
              </a:spcBef>
              <a:spcAft>
                <a:spcPts val="3600"/>
              </a:spcAft>
              <a:buFont typeface="Wingdings" panose="05000000000000000000" pitchFamily="2" charset="2"/>
              <a:buChar char="q"/>
            </a:pPr>
            <a:r>
              <a:rPr lang="el-GR" dirty="0"/>
              <a:t>Ακολουθεί το Εθνικό Πρόγραμμα Μεταρρυθμίσεων και Σχέδιο Ανάπτυξης για την Ελληνική Οικονομία (Έκθεση Επιτροπής </a:t>
            </a:r>
            <a:r>
              <a:rPr lang="el-GR" dirty="0" err="1"/>
              <a:t>Πισσαρίδη</a:t>
            </a:r>
            <a:r>
              <a:rPr lang="el-GR" dirty="0"/>
              <a:t>)</a:t>
            </a:r>
          </a:p>
          <a:p>
            <a:pPr>
              <a:lnSpc>
                <a:spcPts val="4600"/>
              </a:lnSpc>
              <a:spcAft>
                <a:spcPts val="3600"/>
              </a:spcAft>
            </a:pPr>
            <a:r>
              <a:rPr lang="el-GR" dirty="0"/>
              <a:t>Ακολουθεί τις δεσμεύσεις των Ευρωπαϊκών Κανονισμών για τις θεματικές συγκεντρώσεις και ξεπερνά τα κατώτατα ποσοστά</a:t>
            </a:r>
          </a:p>
          <a:p>
            <a:pPr marL="457200" indent="-457200">
              <a:spcBef>
                <a:spcPts val="0"/>
              </a:spcBef>
              <a:spcAft>
                <a:spcPts val="3600"/>
              </a:spcAft>
              <a:buFont typeface="Wingdings" panose="05000000000000000000" pitchFamily="2" charset="2"/>
              <a:buChar char="q"/>
            </a:pPr>
            <a:endParaRPr lang="el-GR" dirty="0"/>
          </a:p>
        </p:txBody>
      </p:sp>
    </p:spTree>
    <p:extLst>
      <p:ext uri="{BB962C8B-B14F-4D97-AF65-F5344CB8AC3E}">
        <p14:creationId xmlns:p14="http://schemas.microsoft.com/office/powerpoint/2010/main" val="2204629738"/>
      </p:ext>
    </p:extLst>
  </p:cSld>
  <p:clrMapOvr>
    <a:masterClrMapping/>
  </p:clrMapOvr>
  <p:transition spd="med"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D81E516-E551-3E82-558A-73AE47F2B49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ΕΣΠΑ 2021 – 2027: Τι ΝΕΟ φέρνει …. ως προς το ΕΣΠΑ 2014-2020</a:t>
            </a:r>
            <a:endParaRPr lang="en-US" dirty="0"/>
          </a:p>
        </p:txBody>
      </p:sp>
      <p:graphicFrame>
        <p:nvGraphicFramePr>
          <p:cNvPr id="6" name="Table 6">
            <a:extLst>
              <a:ext uri="{FF2B5EF4-FFF2-40B4-BE49-F238E27FC236}">
                <a16:creationId xmlns:a16="http://schemas.microsoft.com/office/drawing/2014/main" id="{39086ADB-4769-2E00-AF50-622A1FEABFFF}"/>
              </a:ext>
            </a:extLst>
          </p:cNvPr>
          <p:cNvGraphicFramePr>
            <a:graphicFrameLocks noGrp="1"/>
          </p:cNvGraphicFramePr>
          <p:nvPr>
            <p:ph sz="half" idx="15"/>
            <p:extLst>
              <p:ext uri="{D42A27DB-BD31-4B8C-83A1-F6EECF244321}">
                <p14:modId xmlns:p14="http://schemas.microsoft.com/office/powerpoint/2010/main" val="2783816627"/>
              </p:ext>
            </p:extLst>
          </p:nvPr>
        </p:nvGraphicFramePr>
        <p:xfrm>
          <a:off x="844333" y="2320953"/>
          <a:ext cx="22271546" cy="9166430"/>
        </p:xfrm>
        <a:graphic>
          <a:graphicData uri="http://schemas.openxmlformats.org/drawingml/2006/table">
            <a:tbl>
              <a:tblPr firstRow="1" bandRow="1">
                <a:tableStyleId>{3B4B98B0-60AC-42C2-AFA5-B58CD77FA1E5}</a:tableStyleId>
              </a:tblPr>
              <a:tblGrid>
                <a:gridCol w="1549823">
                  <a:extLst>
                    <a:ext uri="{9D8B030D-6E8A-4147-A177-3AD203B41FA5}">
                      <a16:colId xmlns:a16="http://schemas.microsoft.com/office/drawing/2014/main" val="1809945045"/>
                    </a:ext>
                  </a:extLst>
                </a:gridCol>
                <a:gridCol w="20721723">
                  <a:extLst>
                    <a:ext uri="{9D8B030D-6E8A-4147-A177-3AD203B41FA5}">
                      <a16:colId xmlns:a16="http://schemas.microsoft.com/office/drawing/2014/main" val="1513810362"/>
                    </a:ext>
                  </a:extLst>
                </a:gridCol>
              </a:tblGrid>
              <a:tr h="1137998">
                <a:tc>
                  <a:txBody>
                    <a:bodyPr/>
                    <a:lstStyle/>
                    <a:p>
                      <a:endParaRPr lang="en-US" sz="3600" dirty="0"/>
                    </a:p>
                  </a:txBody>
                  <a:tcPr marL="225084" marR="225084" marT="112542" marB="112542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mpd="sng">
                      <a:noFill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l-GR" sz="320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Αύξηση 2,2 δισ. € για τα 13 ΠΕΠ (από 5,9 δισ. € σε 8,1 δισ. €)</a:t>
                      </a:r>
                    </a:p>
                  </a:txBody>
                  <a:tcPr marL="225084" marR="225084" marT="112542" marB="11254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solidFill>
                        <a:schemeClr val="accent1">
                          <a:lumMod val="75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324213056"/>
                  </a:ext>
                </a:extLst>
              </a:tr>
              <a:tr h="1137998">
                <a:tc>
                  <a:txBody>
                    <a:bodyPr/>
                    <a:lstStyle/>
                    <a:p>
                      <a:endParaRPr lang="en-US" sz="3600" dirty="0"/>
                    </a:p>
                  </a:txBody>
                  <a:tcPr marL="225084" marR="225084" marT="112542" marB="112542">
                    <a:lnR>
                      <a:noFill/>
                    </a:lnR>
                    <a:lnT w="12700" cmpd="sng">
                      <a:noFill/>
                    </a:lnT>
                  </a:tcPr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l-GR" sz="3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για τον Ψηφιακό Μετασχηματισμό με ενισχυμένους πόρους και νέα Διαχειριστική Αρχή</a:t>
                      </a:r>
                    </a:p>
                  </a:txBody>
                  <a:tcPr marL="225084" marR="225084" marT="112542" marB="112542" anchor="ctr">
                    <a:lnL>
                      <a:noFill/>
                    </a:lnL>
                    <a:lnR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616264790"/>
                  </a:ext>
                </a:extLst>
              </a:tr>
              <a:tr h="1137998">
                <a:tc>
                  <a:txBody>
                    <a:bodyPr/>
                    <a:lstStyle/>
                    <a:p>
                      <a:endParaRPr lang="en-US" sz="3600" dirty="0"/>
                    </a:p>
                  </a:txBody>
                  <a:tcPr marL="225084" marR="225084" marT="112542" marB="112542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l-GR" sz="3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για την Πολιτική Προστασία</a:t>
                      </a:r>
                      <a:endParaRPr lang="el-GR" sz="3200" b="1" dirty="0">
                        <a:solidFill>
                          <a:schemeClr val="bg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225084" marR="225084" marT="112542" marB="112542" anchor="ctr"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3367035097"/>
                  </a:ext>
                </a:extLst>
              </a:tr>
              <a:tr h="1137998">
                <a:tc>
                  <a:txBody>
                    <a:bodyPr/>
                    <a:lstStyle/>
                    <a:p>
                      <a:endParaRPr lang="en-US" sz="3600" dirty="0"/>
                    </a:p>
                  </a:txBody>
                  <a:tcPr marL="225084" marR="225084" marT="112542" marB="112542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l-GR" sz="3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Πρόγραμμα για την Δίκαιη Αναπτυξιακή Μετάβαση και νέα Διαχειριστική Αρχή</a:t>
                      </a:r>
                    </a:p>
                  </a:txBody>
                  <a:tcPr marL="225084" marR="225084" marT="112542" marB="112542" anchor="ctr"/>
                </a:tc>
                <a:extLst>
                  <a:ext uri="{0D108BD9-81ED-4DB2-BD59-A6C34878D82A}">
                    <a16:rowId xmlns:a16="http://schemas.microsoft.com/office/drawing/2014/main" val="491763292"/>
                  </a:ext>
                </a:extLst>
              </a:tr>
              <a:tr h="1137998">
                <a:tc>
                  <a:txBody>
                    <a:bodyPr/>
                    <a:lstStyle/>
                    <a:p>
                      <a:endParaRPr lang="en-US" sz="3600" dirty="0"/>
                    </a:p>
                  </a:txBody>
                  <a:tcPr marL="225084" marR="225084" marT="112542" marB="112542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l-GR" sz="32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Διακριτό Πρόγραμμα για το Περιβάλλον, Κλιματική Αλλαγή και Ενέργεια</a:t>
                      </a:r>
                    </a:p>
                  </a:txBody>
                  <a:tcPr marL="225084" marR="225084" marT="112542" marB="112542" anchor="ctr"/>
                </a:tc>
                <a:extLst>
                  <a:ext uri="{0D108BD9-81ED-4DB2-BD59-A6C34878D82A}">
                    <a16:rowId xmlns:a16="http://schemas.microsoft.com/office/drawing/2014/main" val="2510027147"/>
                  </a:ext>
                </a:extLst>
              </a:tr>
              <a:tr h="1137998">
                <a:tc>
                  <a:txBody>
                    <a:bodyPr/>
                    <a:lstStyle/>
                    <a:p>
                      <a:pPr marL="0" marR="0" indent="0" algn="l" defTabSz="412756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lang="en-US" sz="4400" b="0" i="0" u="none" strike="noStrike" cap="none" spc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Helvetica Light"/>
                      </a:endParaRPr>
                    </a:p>
                  </a:txBody>
                  <a:tcPr marL="225084" marR="225084" marT="112542" marB="112542"/>
                </a:tc>
                <a:tc>
                  <a:txBody>
                    <a:bodyPr/>
                    <a:lstStyle/>
                    <a:p>
                      <a:pPr marL="0" marR="0" indent="0" algn="l" defTabSz="508020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l-GR" sz="3200" u="none" strike="noStrike" cap="none" spc="0" baseline="0" dirty="0">
                          <a:ln>
                            <a:noFill/>
                          </a:ln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Helvetica Light"/>
                        </a:rPr>
                        <a:t>Νέο Πρόγραμμα για την Ανταγωνιστικότητα με δράσεις ενίσχυσης των επιχειρήσεων, έρευνας και καινοτομίας</a:t>
                      </a:r>
                      <a:endParaRPr lang="el-GR" sz="3200" b="1" i="0" u="none" strike="noStrike" cap="none" spc="0" baseline="0" dirty="0">
                        <a:ln>
                          <a:noFill/>
                        </a:ln>
                        <a:solidFill>
                          <a:srgbClr val="FFFFFF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Helvetica Light"/>
                      </a:endParaRPr>
                    </a:p>
                  </a:txBody>
                  <a:tcPr marL="225084" marR="225084" marT="112542" marB="112542" anchor="ctr"/>
                </a:tc>
                <a:extLst>
                  <a:ext uri="{0D108BD9-81ED-4DB2-BD59-A6C34878D82A}">
                    <a16:rowId xmlns:a16="http://schemas.microsoft.com/office/drawing/2014/main" val="2461953083"/>
                  </a:ext>
                </a:extLst>
              </a:tr>
              <a:tr h="1140948">
                <a:tc>
                  <a:txBody>
                    <a:bodyPr/>
                    <a:lstStyle/>
                    <a:p>
                      <a:endParaRPr lang="el-GR" sz="3600" dirty="0"/>
                    </a:p>
                  </a:txBody>
                  <a:tcPr marL="225084" marR="225084" marT="112542" marB="112542"/>
                </a:tc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l-GR" sz="32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Ενίσχυση και αναβάθμιση του Προγράμματος Τεχνικής Υποστήριξης για θεσμική και διαχειριστική ικανότητα δικαιούχων και φορέων υλοποίησης (</a:t>
                      </a:r>
                      <a:r>
                        <a:rPr lang="el-GR" sz="3200" b="1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acity</a:t>
                      </a:r>
                      <a:r>
                        <a:rPr lang="el-GR" sz="32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l-GR" sz="3200" b="1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Building</a:t>
                      </a:r>
                      <a:r>
                        <a:rPr lang="el-GR" sz="3200" b="1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225084" marR="225084" marT="112542" marB="112542" anchor="ctr"/>
                </a:tc>
                <a:extLst>
                  <a:ext uri="{0D108BD9-81ED-4DB2-BD59-A6C34878D82A}">
                    <a16:rowId xmlns:a16="http://schemas.microsoft.com/office/drawing/2014/main" val="1133748271"/>
                  </a:ext>
                </a:extLst>
              </a:tr>
              <a:tr h="1137998">
                <a:tc>
                  <a:txBody>
                    <a:bodyPr/>
                    <a:lstStyle/>
                    <a:p>
                      <a:pPr marL="0" marR="0" indent="0" algn="l" defTabSz="412756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endParaRPr lang="el-GR" sz="4400" b="0" i="0" u="none" strike="noStrike" cap="none" spc="0" baseline="0" dirty="0">
                        <a:ln>
                          <a:noFill/>
                        </a:ln>
                        <a:solidFill>
                          <a:srgbClr val="000000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Helvetica Light"/>
                      </a:endParaRPr>
                    </a:p>
                  </a:txBody>
                  <a:tcPr marL="225084" marR="225084" marT="112542" marB="112542"/>
                </a:tc>
                <a:tc>
                  <a:txBody>
                    <a:bodyPr/>
                    <a:lstStyle/>
                    <a:p>
                      <a:pPr marL="0" marR="0" indent="0" algn="l" defTabSz="412756" rtl="0" latinLnBrk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</a:pPr>
                      <a:r>
                        <a:rPr lang="el-GR" sz="3200" u="none" strike="noStrike" cap="none" spc="0" baseline="0" dirty="0">
                          <a:ln>
                            <a:noFill/>
                          </a:ln>
                          <a:uFillTx/>
                          <a:latin typeface="Arial" panose="020B0604020202020204" pitchFamily="34" charset="0"/>
                          <a:cs typeface="Arial" panose="020B0604020202020204" pitchFamily="34" charset="0"/>
                          <a:sym typeface="Helvetica Light"/>
                        </a:rPr>
                        <a:t>Βελτιστοποίηση πλαισίου διαχείρισης και συντονισμού</a:t>
                      </a:r>
                      <a:endParaRPr lang="el-GR" sz="3200" b="1" i="0" u="none" strike="noStrike" cap="none" spc="0" baseline="0" dirty="0">
                        <a:ln>
                          <a:noFill/>
                        </a:ln>
                        <a:solidFill>
                          <a:schemeClr val="bg1"/>
                        </a:solidFill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  <a:sym typeface="Helvetica Light"/>
                      </a:endParaRPr>
                    </a:p>
                  </a:txBody>
                  <a:tcPr marL="225084" marR="225084" marT="112542" marB="112542" anchor="ctr"/>
                </a:tc>
                <a:extLst>
                  <a:ext uri="{0D108BD9-81ED-4DB2-BD59-A6C34878D82A}">
                    <a16:rowId xmlns:a16="http://schemas.microsoft.com/office/drawing/2014/main" val="219071043"/>
                  </a:ext>
                </a:extLst>
              </a:tr>
            </a:tbl>
          </a:graphicData>
        </a:graphic>
      </p:graphicFrame>
      <p:sp>
        <p:nvSpPr>
          <p:cNvPr id="4" name="Freeform 212">
            <a:extLst>
              <a:ext uri="{FF2B5EF4-FFF2-40B4-BE49-F238E27FC236}">
                <a16:creationId xmlns:a16="http://schemas.microsoft.com/office/drawing/2014/main" id="{440A1DC7-0B23-4283-98FB-A04FB55A10FF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48079" y="2702184"/>
            <a:ext cx="571500" cy="571500"/>
          </a:xfrm>
          <a:custGeom>
            <a:avLst/>
            <a:gdLst>
              <a:gd name="T0" fmla="*/ 0 w 77"/>
              <a:gd name="T1" fmla="*/ 0 h 78"/>
              <a:gd name="T2" fmla="*/ 0 w 77"/>
              <a:gd name="T3" fmla="*/ 78 h 78"/>
              <a:gd name="T4" fmla="*/ 10 w 77"/>
              <a:gd name="T5" fmla="*/ 78 h 78"/>
              <a:gd name="T6" fmla="*/ 10 w 77"/>
              <a:gd name="T7" fmla="*/ 67 h 78"/>
              <a:gd name="T8" fmla="*/ 23 w 77"/>
              <a:gd name="T9" fmla="*/ 67 h 78"/>
              <a:gd name="T10" fmla="*/ 23 w 77"/>
              <a:gd name="T11" fmla="*/ 78 h 78"/>
              <a:gd name="T12" fmla="*/ 32 w 77"/>
              <a:gd name="T13" fmla="*/ 78 h 78"/>
              <a:gd name="T14" fmla="*/ 32 w 77"/>
              <a:gd name="T15" fmla="*/ 53 h 78"/>
              <a:gd name="T16" fmla="*/ 45 w 77"/>
              <a:gd name="T17" fmla="*/ 53 h 78"/>
              <a:gd name="T18" fmla="*/ 45 w 77"/>
              <a:gd name="T19" fmla="*/ 78 h 78"/>
              <a:gd name="T20" fmla="*/ 54 w 77"/>
              <a:gd name="T21" fmla="*/ 78 h 78"/>
              <a:gd name="T22" fmla="*/ 54 w 77"/>
              <a:gd name="T23" fmla="*/ 34 h 78"/>
              <a:gd name="T24" fmla="*/ 66 w 77"/>
              <a:gd name="T25" fmla="*/ 34 h 78"/>
              <a:gd name="T26" fmla="*/ 66 w 77"/>
              <a:gd name="T27" fmla="*/ 78 h 78"/>
              <a:gd name="T28" fmla="*/ 77 w 77"/>
              <a:gd name="T29" fmla="*/ 78 h 78"/>
              <a:gd name="T30" fmla="*/ 77 w 77"/>
              <a:gd name="T31" fmla="*/ 0 h 78"/>
              <a:gd name="T32" fmla="*/ 0 w 77"/>
              <a:gd name="T33" fmla="*/ 0 h 78"/>
              <a:gd name="T34" fmla="*/ 74 w 77"/>
              <a:gd name="T35" fmla="*/ 74 h 78"/>
              <a:gd name="T36" fmla="*/ 70 w 77"/>
              <a:gd name="T37" fmla="*/ 74 h 78"/>
              <a:gd name="T38" fmla="*/ 70 w 77"/>
              <a:gd name="T39" fmla="*/ 31 h 78"/>
              <a:gd name="T40" fmla="*/ 51 w 77"/>
              <a:gd name="T41" fmla="*/ 31 h 78"/>
              <a:gd name="T42" fmla="*/ 51 w 77"/>
              <a:gd name="T43" fmla="*/ 74 h 78"/>
              <a:gd name="T44" fmla="*/ 48 w 77"/>
              <a:gd name="T45" fmla="*/ 74 h 78"/>
              <a:gd name="T46" fmla="*/ 48 w 77"/>
              <a:gd name="T47" fmla="*/ 50 h 78"/>
              <a:gd name="T48" fmla="*/ 29 w 77"/>
              <a:gd name="T49" fmla="*/ 50 h 78"/>
              <a:gd name="T50" fmla="*/ 29 w 77"/>
              <a:gd name="T51" fmla="*/ 74 h 78"/>
              <a:gd name="T52" fmla="*/ 26 w 77"/>
              <a:gd name="T53" fmla="*/ 74 h 78"/>
              <a:gd name="T54" fmla="*/ 26 w 77"/>
              <a:gd name="T55" fmla="*/ 63 h 78"/>
              <a:gd name="T56" fmla="*/ 7 w 77"/>
              <a:gd name="T57" fmla="*/ 63 h 78"/>
              <a:gd name="T58" fmla="*/ 7 w 77"/>
              <a:gd name="T59" fmla="*/ 74 h 78"/>
              <a:gd name="T60" fmla="*/ 3 w 77"/>
              <a:gd name="T61" fmla="*/ 74 h 78"/>
              <a:gd name="T62" fmla="*/ 3 w 77"/>
              <a:gd name="T63" fmla="*/ 62 h 78"/>
              <a:gd name="T64" fmla="*/ 28 w 77"/>
              <a:gd name="T65" fmla="*/ 38 h 78"/>
              <a:gd name="T66" fmla="*/ 33 w 77"/>
              <a:gd name="T67" fmla="*/ 42 h 78"/>
              <a:gd name="T68" fmla="*/ 59 w 77"/>
              <a:gd name="T69" fmla="*/ 16 h 78"/>
              <a:gd name="T70" fmla="*/ 59 w 77"/>
              <a:gd name="T71" fmla="*/ 23 h 78"/>
              <a:gd name="T72" fmla="*/ 62 w 77"/>
              <a:gd name="T73" fmla="*/ 23 h 78"/>
              <a:gd name="T74" fmla="*/ 62 w 77"/>
              <a:gd name="T75" fmla="*/ 10 h 78"/>
              <a:gd name="T76" fmla="*/ 49 w 77"/>
              <a:gd name="T77" fmla="*/ 10 h 78"/>
              <a:gd name="T78" fmla="*/ 49 w 77"/>
              <a:gd name="T79" fmla="*/ 13 h 78"/>
              <a:gd name="T80" fmla="*/ 57 w 77"/>
              <a:gd name="T81" fmla="*/ 13 h 78"/>
              <a:gd name="T82" fmla="*/ 33 w 77"/>
              <a:gd name="T83" fmla="*/ 37 h 78"/>
              <a:gd name="T84" fmla="*/ 28 w 77"/>
              <a:gd name="T85" fmla="*/ 33 h 78"/>
              <a:gd name="T86" fmla="*/ 3 w 77"/>
              <a:gd name="T87" fmla="*/ 58 h 78"/>
              <a:gd name="T88" fmla="*/ 3 w 77"/>
              <a:gd name="T89" fmla="*/ 3 h 78"/>
              <a:gd name="T90" fmla="*/ 74 w 77"/>
              <a:gd name="T91" fmla="*/ 3 h 78"/>
              <a:gd name="T92" fmla="*/ 74 w 77"/>
              <a:gd name="T93" fmla="*/ 74 h 78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</a:cxnLst>
            <a:rect l="0" t="0" r="r" b="b"/>
            <a:pathLst>
              <a:path w="77" h="78">
                <a:moveTo>
                  <a:pt x="0" y="0"/>
                </a:moveTo>
                <a:lnTo>
                  <a:pt x="0" y="78"/>
                </a:lnTo>
                <a:lnTo>
                  <a:pt x="10" y="78"/>
                </a:lnTo>
                <a:lnTo>
                  <a:pt x="10" y="67"/>
                </a:lnTo>
                <a:lnTo>
                  <a:pt x="23" y="67"/>
                </a:lnTo>
                <a:lnTo>
                  <a:pt x="23" y="78"/>
                </a:lnTo>
                <a:lnTo>
                  <a:pt x="32" y="78"/>
                </a:lnTo>
                <a:lnTo>
                  <a:pt x="32" y="53"/>
                </a:lnTo>
                <a:lnTo>
                  <a:pt x="45" y="53"/>
                </a:lnTo>
                <a:lnTo>
                  <a:pt x="45" y="78"/>
                </a:lnTo>
                <a:lnTo>
                  <a:pt x="54" y="78"/>
                </a:lnTo>
                <a:lnTo>
                  <a:pt x="54" y="34"/>
                </a:lnTo>
                <a:lnTo>
                  <a:pt x="66" y="34"/>
                </a:lnTo>
                <a:lnTo>
                  <a:pt x="66" y="78"/>
                </a:lnTo>
                <a:lnTo>
                  <a:pt x="77" y="78"/>
                </a:lnTo>
                <a:lnTo>
                  <a:pt x="77" y="0"/>
                </a:lnTo>
                <a:lnTo>
                  <a:pt x="0" y="0"/>
                </a:lnTo>
                <a:close/>
                <a:moveTo>
                  <a:pt x="74" y="74"/>
                </a:moveTo>
                <a:lnTo>
                  <a:pt x="70" y="74"/>
                </a:lnTo>
                <a:lnTo>
                  <a:pt x="70" y="31"/>
                </a:lnTo>
                <a:lnTo>
                  <a:pt x="51" y="31"/>
                </a:lnTo>
                <a:lnTo>
                  <a:pt x="51" y="74"/>
                </a:lnTo>
                <a:lnTo>
                  <a:pt x="48" y="74"/>
                </a:lnTo>
                <a:lnTo>
                  <a:pt x="48" y="50"/>
                </a:lnTo>
                <a:lnTo>
                  <a:pt x="29" y="50"/>
                </a:lnTo>
                <a:lnTo>
                  <a:pt x="29" y="74"/>
                </a:lnTo>
                <a:lnTo>
                  <a:pt x="26" y="74"/>
                </a:lnTo>
                <a:lnTo>
                  <a:pt x="26" y="63"/>
                </a:lnTo>
                <a:lnTo>
                  <a:pt x="7" y="63"/>
                </a:lnTo>
                <a:lnTo>
                  <a:pt x="7" y="74"/>
                </a:lnTo>
                <a:lnTo>
                  <a:pt x="3" y="74"/>
                </a:lnTo>
                <a:lnTo>
                  <a:pt x="3" y="62"/>
                </a:lnTo>
                <a:lnTo>
                  <a:pt x="28" y="38"/>
                </a:lnTo>
                <a:lnTo>
                  <a:pt x="33" y="42"/>
                </a:lnTo>
                <a:lnTo>
                  <a:pt x="59" y="16"/>
                </a:lnTo>
                <a:lnTo>
                  <a:pt x="59" y="23"/>
                </a:lnTo>
                <a:lnTo>
                  <a:pt x="62" y="23"/>
                </a:lnTo>
                <a:lnTo>
                  <a:pt x="62" y="10"/>
                </a:lnTo>
                <a:lnTo>
                  <a:pt x="49" y="10"/>
                </a:lnTo>
                <a:lnTo>
                  <a:pt x="49" y="13"/>
                </a:lnTo>
                <a:lnTo>
                  <a:pt x="57" y="13"/>
                </a:lnTo>
                <a:lnTo>
                  <a:pt x="33" y="37"/>
                </a:lnTo>
                <a:lnTo>
                  <a:pt x="28" y="33"/>
                </a:lnTo>
                <a:lnTo>
                  <a:pt x="3" y="58"/>
                </a:lnTo>
                <a:lnTo>
                  <a:pt x="3" y="3"/>
                </a:lnTo>
                <a:lnTo>
                  <a:pt x="74" y="3"/>
                </a:lnTo>
                <a:lnTo>
                  <a:pt x="74" y="7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5" name="Freeform 19">
            <a:extLst>
              <a:ext uri="{FF2B5EF4-FFF2-40B4-BE49-F238E27FC236}">
                <a16:creationId xmlns:a16="http://schemas.microsoft.com/office/drawing/2014/main" id="{8C536529-06FE-4D05-ACEA-F7BCD80C70AE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48079" y="3784605"/>
            <a:ext cx="571500" cy="571500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331 w 346"/>
              <a:gd name="T11" fmla="*/ 331 h 346"/>
              <a:gd name="T12" fmla="*/ 14 w 346"/>
              <a:gd name="T13" fmla="*/ 331 h 346"/>
              <a:gd name="T14" fmla="*/ 14 w 346"/>
              <a:gd name="T15" fmla="*/ 15 h 346"/>
              <a:gd name="T16" fmla="*/ 331 w 346"/>
              <a:gd name="T17" fmla="*/ 15 h 346"/>
              <a:gd name="T18" fmla="*/ 331 w 346"/>
              <a:gd name="T19" fmla="*/ 331 h 346"/>
              <a:gd name="T20" fmla="*/ 26 w 346"/>
              <a:gd name="T21" fmla="*/ 207 h 346"/>
              <a:gd name="T22" fmla="*/ 82 w 346"/>
              <a:gd name="T23" fmla="*/ 150 h 346"/>
              <a:gd name="T24" fmla="*/ 159 w 346"/>
              <a:gd name="T25" fmla="*/ 99 h 346"/>
              <a:gd name="T26" fmla="*/ 229 w 346"/>
              <a:gd name="T27" fmla="*/ 138 h 346"/>
              <a:gd name="T28" fmla="*/ 249 w 346"/>
              <a:gd name="T29" fmla="*/ 131 h 346"/>
              <a:gd name="T30" fmla="*/ 285 w 346"/>
              <a:gd name="T31" fmla="*/ 167 h 346"/>
              <a:gd name="T32" fmla="*/ 284 w 346"/>
              <a:gd name="T33" fmla="*/ 173 h 346"/>
              <a:gd name="T34" fmla="*/ 319 w 346"/>
              <a:gd name="T35" fmla="*/ 217 h 346"/>
              <a:gd name="T36" fmla="*/ 273 w 346"/>
              <a:gd name="T37" fmla="*/ 264 h 346"/>
              <a:gd name="T38" fmla="*/ 222 w 346"/>
              <a:gd name="T39" fmla="*/ 264 h 346"/>
              <a:gd name="T40" fmla="*/ 222 w 346"/>
              <a:gd name="T41" fmla="*/ 249 h 346"/>
              <a:gd name="T42" fmla="*/ 273 w 346"/>
              <a:gd name="T43" fmla="*/ 249 h 346"/>
              <a:gd name="T44" fmla="*/ 304 w 346"/>
              <a:gd name="T45" fmla="*/ 217 h 346"/>
              <a:gd name="T46" fmla="*/ 275 w 346"/>
              <a:gd name="T47" fmla="*/ 186 h 346"/>
              <a:gd name="T48" fmla="*/ 264 w 346"/>
              <a:gd name="T49" fmla="*/ 185 h 346"/>
              <a:gd name="T50" fmla="*/ 268 w 346"/>
              <a:gd name="T51" fmla="*/ 176 h 346"/>
              <a:gd name="T52" fmla="*/ 270 w 346"/>
              <a:gd name="T53" fmla="*/ 167 h 346"/>
              <a:gd name="T54" fmla="*/ 249 w 346"/>
              <a:gd name="T55" fmla="*/ 146 h 346"/>
              <a:gd name="T56" fmla="*/ 233 w 346"/>
              <a:gd name="T57" fmla="*/ 154 h 346"/>
              <a:gd name="T58" fmla="*/ 225 w 346"/>
              <a:gd name="T59" fmla="*/ 163 h 346"/>
              <a:gd name="T60" fmla="*/ 220 w 346"/>
              <a:gd name="T61" fmla="*/ 153 h 346"/>
              <a:gd name="T62" fmla="*/ 159 w 346"/>
              <a:gd name="T63" fmla="*/ 113 h 346"/>
              <a:gd name="T64" fmla="*/ 94 w 346"/>
              <a:gd name="T65" fmla="*/ 160 h 346"/>
              <a:gd name="T66" fmla="*/ 93 w 346"/>
              <a:gd name="T67" fmla="*/ 165 h 346"/>
              <a:gd name="T68" fmla="*/ 87 w 346"/>
              <a:gd name="T69" fmla="*/ 165 h 346"/>
              <a:gd name="T70" fmla="*/ 83 w 346"/>
              <a:gd name="T71" fmla="*/ 164 h 346"/>
              <a:gd name="T72" fmla="*/ 41 w 346"/>
              <a:gd name="T73" fmla="*/ 207 h 346"/>
              <a:gd name="T74" fmla="*/ 83 w 346"/>
              <a:gd name="T75" fmla="*/ 249 h 346"/>
              <a:gd name="T76" fmla="*/ 129 w 346"/>
              <a:gd name="T77" fmla="*/ 249 h 346"/>
              <a:gd name="T78" fmla="*/ 129 w 346"/>
              <a:gd name="T79" fmla="*/ 264 h 346"/>
              <a:gd name="T80" fmla="*/ 83 w 346"/>
              <a:gd name="T81" fmla="*/ 264 h 346"/>
              <a:gd name="T82" fmla="*/ 26 w 346"/>
              <a:gd name="T83" fmla="*/ 207 h 346"/>
              <a:gd name="T84" fmla="*/ 173 w 346"/>
              <a:gd name="T85" fmla="*/ 184 h 346"/>
              <a:gd name="T86" fmla="*/ 216 w 346"/>
              <a:gd name="T87" fmla="*/ 227 h 346"/>
              <a:gd name="T88" fmla="*/ 206 w 346"/>
              <a:gd name="T89" fmla="*/ 238 h 346"/>
              <a:gd name="T90" fmla="*/ 180 w 346"/>
              <a:gd name="T91" fmla="*/ 212 h 346"/>
              <a:gd name="T92" fmla="*/ 180 w 346"/>
              <a:gd name="T93" fmla="*/ 296 h 346"/>
              <a:gd name="T94" fmla="*/ 165 w 346"/>
              <a:gd name="T95" fmla="*/ 296 h 346"/>
              <a:gd name="T96" fmla="*/ 165 w 346"/>
              <a:gd name="T97" fmla="*/ 212 h 346"/>
              <a:gd name="T98" fmla="*/ 139 w 346"/>
              <a:gd name="T99" fmla="*/ 238 h 346"/>
              <a:gd name="T100" fmla="*/ 129 w 346"/>
              <a:gd name="T101" fmla="*/ 227 h 346"/>
              <a:gd name="T102" fmla="*/ 173 w 346"/>
              <a:gd name="T103" fmla="*/ 184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331" y="331"/>
                </a:moveTo>
                <a:cubicBezTo>
                  <a:pt x="14" y="331"/>
                  <a:pt x="14" y="331"/>
                  <a:pt x="14" y="331"/>
                </a:cubicBezTo>
                <a:cubicBezTo>
                  <a:pt x="14" y="15"/>
                  <a:pt x="14" y="15"/>
                  <a:pt x="14" y="15"/>
                </a:cubicBezTo>
                <a:cubicBezTo>
                  <a:pt x="331" y="15"/>
                  <a:pt x="331" y="15"/>
                  <a:pt x="331" y="15"/>
                </a:cubicBezTo>
                <a:lnTo>
                  <a:pt x="331" y="331"/>
                </a:lnTo>
                <a:close/>
                <a:moveTo>
                  <a:pt x="26" y="207"/>
                </a:moveTo>
                <a:cubicBezTo>
                  <a:pt x="26" y="176"/>
                  <a:pt x="51" y="150"/>
                  <a:pt x="82" y="150"/>
                </a:cubicBezTo>
                <a:cubicBezTo>
                  <a:pt x="95" y="119"/>
                  <a:pt x="125" y="99"/>
                  <a:pt x="159" y="99"/>
                </a:cubicBezTo>
                <a:cubicBezTo>
                  <a:pt x="187" y="99"/>
                  <a:pt x="214" y="114"/>
                  <a:pt x="229" y="138"/>
                </a:cubicBezTo>
                <a:cubicBezTo>
                  <a:pt x="235" y="134"/>
                  <a:pt x="242" y="131"/>
                  <a:pt x="249" y="131"/>
                </a:cubicBezTo>
                <a:cubicBezTo>
                  <a:pt x="269" y="131"/>
                  <a:pt x="285" y="147"/>
                  <a:pt x="285" y="167"/>
                </a:cubicBezTo>
                <a:cubicBezTo>
                  <a:pt x="285" y="169"/>
                  <a:pt x="285" y="171"/>
                  <a:pt x="284" y="173"/>
                </a:cubicBezTo>
                <a:cubicBezTo>
                  <a:pt x="304" y="178"/>
                  <a:pt x="319" y="196"/>
                  <a:pt x="319" y="217"/>
                </a:cubicBezTo>
                <a:cubicBezTo>
                  <a:pt x="319" y="243"/>
                  <a:pt x="298" y="264"/>
                  <a:pt x="273" y="264"/>
                </a:cubicBezTo>
                <a:cubicBezTo>
                  <a:pt x="222" y="264"/>
                  <a:pt x="222" y="264"/>
                  <a:pt x="222" y="264"/>
                </a:cubicBezTo>
                <a:cubicBezTo>
                  <a:pt x="222" y="249"/>
                  <a:pt x="222" y="249"/>
                  <a:pt x="222" y="249"/>
                </a:cubicBezTo>
                <a:cubicBezTo>
                  <a:pt x="273" y="249"/>
                  <a:pt x="273" y="249"/>
                  <a:pt x="273" y="249"/>
                </a:cubicBezTo>
                <a:cubicBezTo>
                  <a:pt x="290" y="249"/>
                  <a:pt x="304" y="235"/>
                  <a:pt x="304" y="217"/>
                </a:cubicBezTo>
                <a:cubicBezTo>
                  <a:pt x="304" y="201"/>
                  <a:pt x="291" y="187"/>
                  <a:pt x="275" y="186"/>
                </a:cubicBezTo>
                <a:cubicBezTo>
                  <a:pt x="264" y="185"/>
                  <a:pt x="264" y="185"/>
                  <a:pt x="264" y="185"/>
                </a:cubicBezTo>
                <a:cubicBezTo>
                  <a:pt x="268" y="176"/>
                  <a:pt x="268" y="176"/>
                  <a:pt x="268" y="176"/>
                </a:cubicBezTo>
                <a:cubicBezTo>
                  <a:pt x="270" y="173"/>
                  <a:pt x="270" y="170"/>
                  <a:pt x="270" y="167"/>
                </a:cubicBezTo>
                <a:cubicBezTo>
                  <a:pt x="270" y="156"/>
                  <a:pt x="261" y="146"/>
                  <a:pt x="249" y="146"/>
                </a:cubicBezTo>
                <a:cubicBezTo>
                  <a:pt x="243" y="146"/>
                  <a:pt x="237" y="149"/>
                  <a:pt x="233" y="154"/>
                </a:cubicBezTo>
                <a:cubicBezTo>
                  <a:pt x="225" y="163"/>
                  <a:pt x="225" y="163"/>
                  <a:pt x="225" y="163"/>
                </a:cubicBezTo>
                <a:cubicBezTo>
                  <a:pt x="220" y="153"/>
                  <a:pt x="220" y="153"/>
                  <a:pt x="220" y="153"/>
                </a:cubicBezTo>
                <a:cubicBezTo>
                  <a:pt x="209" y="129"/>
                  <a:pt x="185" y="113"/>
                  <a:pt x="159" y="113"/>
                </a:cubicBezTo>
                <a:cubicBezTo>
                  <a:pt x="129" y="113"/>
                  <a:pt x="104" y="132"/>
                  <a:pt x="94" y="160"/>
                </a:cubicBezTo>
                <a:cubicBezTo>
                  <a:pt x="93" y="165"/>
                  <a:pt x="93" y="165"/>
                  <a:pt x="93" y="165"/>
                </a:cubicBezTo>
                <a:cubicBezTo>
                  <a:pt x="87" y="165"/>
                  <a:pt x="87" y="165"/>
                  <a:pt x="87" y="165"/>
                </a:cubicBezTo>
                <a:cubicBezTo>
                  <a:pt x="86" y="165"/>
                  <a:pt x="84" y="164"/>
                  <a:pt x="83" y="164"/>
                </a:cubicBezTo>
                <a:cubicBezTo>
                  <a:pt x="60" y="164"/>
                  <a:pt x="41" y="183"/>
                  <a:pt x="41" y="207"/>
                </a:cubicBezTo>
                <a:cubicBezTo>
                  <a:pt x="41" y="230"/>
                  <a:pt x="60" y="249"/>
                  <a:pt x="83" y="249"/>
                </a:cubicBezTo>
                <a:cubicBezTo>
                  <a:pt x="129" y="249"/>
                  <a:pt x="129" y="249"/>
                  <a:pt x="129" y="249"/>
                </a:cubicBezTo>
                <a:cubicBezTo>
                  <a:pt x="129" y="264"/>
                  <a:pt x="129" y="264"/>
                  <a:pt x="129" y="264"/>
                </a:cubicBezTo>
                <a:cubicBezTo>
                  <a:pt x="83" y="264"/>
                  <a:pt x="83" y="264"/>
                  <a:pt x="83" y="264"/>
                </a:cubicBezTo>
                <a:cubicBezTo>
                  <a:pt x="52" y="264"/>
                  <a:pt x="26" y="238"/>
                  <a:pt x="26" y="207"/>
                </a:cubicBezTo>
                <a:close/>
                <a:moveTo>
                  <a:pt x="173" y="184"/>
                </a:moveTo>
                <a:cubicBezTo>
                  <a:pt x="216" y="227"/>
                  <a:pt x="216" y="227"/>
                  <a:pt x="216" y="227"/>
                </a:cubicBezTo>
                <a:cubicBezTo>
                  <a:pt x="206" y="238"/>
                  <a:pt x="206" y="238"/>
                  <a:pt x="206" y="238"/>
                </a:cubicBezTo>
                <a:cubicBezTo>
                  <a:pt x="180" y="212"/>
                  <a:pt x="180" y="212"/>
                  <a:pt x="180" y="212"/>
                </a:cubicBezTo>
                <a:cubicBezTo>
                  <a:pt x="180" y="296"/>
                  <a:pt x="180" y="296"/>
                  <a:pt x="180" y="296"/>
                </a:cubicBezTo>
                <a:cubicBezTo>
                  <a:pt x="165" y="296"/>
                  <a:pt x="165" y="296"/>
                  <a:pt x="165" y="296"/>
                </a:cubicBezTo>
                <a:cubicBezTo>
                  <a:pt x="165" y="212"/>
                  <a:pt x="165" y="212"/>
                  <a:pt x="165" y="212"/>
                </a:cubicBezTo>
                <a:cubicBezTo>
                  <a:pt x="139" y="238"/>
                  <a:pt x="139" y="238"/>
                  <a:pt x="139" y="238"/>
                </a:cubicBezTo>
                <a:cubicBezTo>
                  <a:pt x="129" y="227"/>
                  <a:pt x="129" y="227"/>
                  <a:pt x="129" y="227"/>
                </a:cubicBezTo>
                <a:lnTo>
                  <a:pt x="173" y="1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7" name="Freeform 30">
            <a:extLst>
              <a:ext uri="{FF2B5EF4-FFF2-40B4-BE49-F238E27FC236}">
                <a16:creationId xmlns:a16="http://schemas.microsoft.com/office/drawing/2014/main" id="{C125BB93-45CE-41CE-A330-886EC8A6F2D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51544" y="4867026"/>
            <a:ext cx="568035" cy="568035"/>
          </a:xfrm>
          <a:custGeom>
            <a:avLst/>
            <a:gdLst>
              <a:gd name="T0" fmla="*/ 0 w 395"/>
              <a:gd name="T1" fmla="*/ 396 h 396"/>
              <a:gd name="T2" fmla="*/ 395 w 395"/>
              <a:gd name="T3" fmla="*/ 0 h 396"/>
              <a:gd name="T4" fmla="*/ 378 w 395"/>
              <a:gd name="T5" fmla="*/ 379 h 396"/>
              <a:gd name="T6" fmla="*/ 17 w 395"/>
              <a:gd name="T7" fmla="*/ 16 h 396"/>
              <a:gd name="T8" fmla="*/ 378 w 395"/>
              <a:gd name="T9" fmla="*/ 379 h 396"/>
              <a:gd name="T10" fmla="*/ 50 w 395"/>
              <a:gd name="T11" fmla="*/ 346 h 396"/>
              <a:gd name="T12" fmla="*/ 343 w 395"/>
              <a:gd name="T13" fmla="*/ 329 h 396"/>
              <a:gd name="T14" fmla="*/ 343 w 395"/>
              <a:gd name="T15" fmla="*/ 140 h 396"/>
              <a:gd name="T16" fmla="*/ 207 w 395"/>
              <a:gd name="T17" fmla="*/ 115 h 396"/>
              <a:gd name="T18" fmla="*/ 237 w 395"/>
              <a:gd name="T19" fmla="*/ 130 h 396"/>
              <a:gd name="T20" fmla="*/ 289 w 395"/>
              <a:gd name="T21" fmla="*/ 75 h 396"/>
              <a:gd name="T22" fmla="*/ 255 w 395"/>
              <a:gd name="T23" fmla="*/ 54 h 396"/>
              <a:gd name="T24" fmla="*/ 190 w 395"/>
              <a:gd name="T25" fmla="*/ 140 h 396"/>
              <a:gd name="T26" fmla="*/ 50 w 395"/>
              <a:gd name="T27" fmla="*/ 157 h 396"/>
              <a:gd name="T28" fmla="*/ 343 w 395"/>
              <a:gd name="T29" fmla="*/ 140 h 396"/>
              <a:gd name="T30" fmla="*/ 273 w 395"/>
              <a:gd name="T31" fmla="*/ 114 h 396"/>
              <a:gd name="T32" fmla="*/ 255 w 395"/>
              <a:gd name="T33" fmla="*/ 92 h 396"/>
              <a:gd name="T34" fmla="*/ 207 w 395"/>
              <a:gd name="T35" fmla="*/ 71 h 396"/>
              <a:gd name="T36" fmla="*/ 237 w 395"/>
              <a:gd name="T37" fmla="*/ 75 h 396"/>
              <a:gd name="T38" fmla="*/ 207 w 395"/>
              <a:gd name="T39" fmla="*/ 98 h 396"/>
              <a:gd name="T40" fmla="*/ 123 w 395"/>
              <a:gd name="T41" fmla="*/ 320 h 396"/>
              <a:gd name="T42" fmla="*/ 73 w 395"/>
              <a:gd name="T43" fmla="*/ 167 h 396"/>
              <a:gd name="T44" fmla="*/ 123 w 395"/>
              <a:gd name="T45" fmla="*/ 320 h 396"/>
              <a:gd name="T46" fmla="*/ 106 w 395"/>
              <a:gd name="T47" fmla="*/ 185 h 396"/>
              <a:gd name="T48" fmla="*/ 90 w 395"/>
              <a:gd name="T49" fmla="*/ 302 h 396"/>
              <a:gd name="T50" fmla="*/ 189 w 395"/>
              <a:gd name="T51" fmla="*/ 320 h 396"/>
              <a:gd name="T52" fmla="*/ 138 w 395"/>
              <a:gd name="T53" fmla="*/ 167 h 396"/>
              <a:gd name="T54" fmla="*/ 189 w 395"/>
              <a:gd name="T55" fmla="*/ 320 h 396"/>
              <a:gd name="T56" fmla="*/ 172 w 395"/>
              <a:gd name="T57" fmla="*/ 185 h 396"/>
              <a:gd name="T58" fmla="*/ 155 w 395"/>
              <a:gd name="T59" fmla="*/ 302 h 396"/>
              <a:gd name="T60" fmla="*/ 255 w 395"/>
              <a:gd name="T61" fmla="*/ 320 h 396"/>
              <a:gd name="T62" fmla="*/ 204 w 395"/>
              <a:gd name="T63" fmla="*/ 167 h 396"/>
              <a:gd name="T64" fmla="*/ 255 w 395"/>
              <a:gd name="T65" fmla="*/ 320 h 396"/>
              <a:gd name="T66" fmla="*/ 237 w 395"/>
              <a:gd name="T67" fmla="*/ 185 h 396"/>
              <a:gd name="T68" fmla="*/ 220 w 395"/>
              <a:gd name="T69" fmla="*/ 302 h 396"/>
              <a:gd name="T70" fmla="*/ 320 w 395"/>
              <a:gd name="T71" fmla="*/ 320 h 396"/>
              <a:gd name="T72" fmla="*/ 269 w 395"/>
              <a:gd name="T73" fmla="*/ 167 h 396"/>
              <a:gd name="T74" fmla="*/ 320 w 395"/>
              <a:gd name="T75" fmla="*/ 320 h 396"/>
              <a:gd name="T76" fmla="*/ 304 w 395"/>
              <a:gd name="T77" fmla="*/ 185 h 396"/>
              <a:gd name="T78" fmla="*/ 287 w 395"/>
              <a:gd name="T79" fmla="*/ 302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</a:cxnLst>
            <a:rect l="0" t="0" r="r" b="b"/>
            <a:pathLst>
              <a:path w="395" h="396">
                <a:moveTo>
                  <a:pt x="0" y="0"/>
                </a:moveTo>
                <a:lnTo>
                  <a:pt x="0" y="396"/>
                </a:lnTo>
                <a:lnTo>
                  <a:pt x="395" y="396"/>
                </a:lnTo>
                <a:lnTo>
                  <a:pt x="395" y="0"/>
                </a:lnTo>
                <a:lnTo>
                  <a:pt x="0" y="0"/>
                </a:lnTo>
                <a:close/>
                <a:moveTo>
                  <a:pt x="378" y="379"/>
                </a:moveTo>
                <a:lnTo>
                  <a:pt x="17" y="379"/>
                </a:lnTo>
                <a:lnTo>
                  <a:pt x="17" y="16"/>
                </a:lnTo>
                <a:lnTo>
                  <a:pt x="378" y="16"/>
                </a:lnTo>
                <a:lnTo>
                  <a:pt x="378" y="379"/>
                </a:lnTo>
                <a:close/>
                <a:moveTo>
                  <a:pt x="343" y="346"/>
                </a:moveTo>
                <a:lnTo>
                  <a:pt x="50" y="346"/>
                </a:lnTo>
                <a:lnTo>
                  <a:pt x="50" y="329"/>
                </a:lnTo>
                <a:lnTo>
                  <a:pt x="343" y="329"/>
                </a:lnTo>
                <a:lnTo>
                  <a:pt x="343" y="346"/>
                </a:lnTo>
                <a:close/>
                <a:moveTo>
                  <a:pt x="343" y="140"/>
                </a:moveTo>
                <a:lnTo>
                  <a:pt x="207" y="140"/>
                </a:lnTo>
                <a:lnTo>
                  <a:pt x="207" y="115"/>
                </a:lnTo>
                <a:lnTo>
                  <a:pt x="237" y="115"/>
                </a:lnTo>
                <a:lnTo>
                  <a:pt x="237" y="130"/>
                </a:lnTo>
                <a:lnTo>
                  <a:pt x="289" y="130"/>
                </a:lnTo>
                <a:lnTo>
                  <a:pt x="289" y="75"/>
                </a:lnTo>
                <a:lnTo>
                  <a:pt x="255" y="75"/>
                </a:lnTo>
                <a:lnTo>
                  <a:pt x="255" y="54"/>
                </a:lnTo>
                <a:lnTo>
                  <a:pt x="190" y="54"/>
                </a:lnTo>
                <a:lnTo>
                  <a:pt x="190" y="140"/>
                </a:lnTo>
                <a:lnTo>
                  <a:pt x="50" y="140"/>
                </a:lnTo>
                <a:lnTo>
                  <a:pt x="50" y="157"/>
                </a:lnTo>
                <a:lnTo>
                  <a:pt x="343" y="157"/>
                </a:lnTo>
                <a:lnTo>
                  <a:pt x="343" y="140"/>
                </a:lnTo>
                <a:close/>
                <a:moveTo>
                  <a:pt x="273" y="92"/>
                </a:moveTo>
                <a:lnTo>
                  <a:pt x="273" y="114"/>
                </a:lnTo>
                <a:lnTo>
                  <a:pt x="255" y="114"/>
                </a:lnTo>
                <a:lnTo>
                  <a:pt x="255" y="92"/>
                </a:lnTo>
                <a:lnTo>
                  <a:pt x="273" y="92"/>
                </a:lnTo>
                <a:close/>
                <a:moveTo>
                  <a:pt x="207" y="71"/>
                </a:moveTo>
                <a:lnTo>
                  <a:pt x="237" y="71"/>
                </a:lnTo>
                <a:lnTo>
                  <a:pt x="237" y="75"/>
                </a:lnTo>
                <a:lnTo>
                  <a:pt x="237" y="98"/>
                </a:lnTo>
                <a:lnTo>
                  <a:pt x="207" y="98"/>
                </a:lnTo>
                <a:lnTo>
                  <a:pt x="207" y="71"/>
                </a:lnTo>
                <a:close/>
                <a:moveTo>
                  <a:pt x="123" y="320"/>
                </a:moveTo>
                <a:lnTo>
                  <a:pt x="123" y="167"/>
                </a:lnTo>
                <a:lnTo>
                  <a:pt x="73" y="167"/>
                </a:lnTo>
                <a:lnTo>
                  <a:pt x="73" y="320"/>
                </a:lnTo>
                <a:lnTo>
                  <a:pt x="123" y="320"/>
                </a:lnTo>
                <a:close/>
                <a:moveTo>
                  <a:pt x="90" y="185"/>
                </a:moveTo>
                <a:lnTo>
                  <a:pt x="106" y="185"/>
                </a:lnTo>
                <a:lnTo>
                  <a:pt x="106" y="302"/>
                </a:lnTo>
                <a:lnTo>
                  <a:pt x="90" y="302"/>
                </a:lnTo>
                <a:lnTo>
                  <a:pt x="90" y="185"/>
                </a:lnTo>
                <a:close/>
                <a:moveTo>
                  <a:pt x="189" y="320"/>
                </a:moveTo>
                <a:lnTo>
                  <a:pt x="189" y="167"/>
                </a:lnTo>
                <a:lnTo>
                  <a:pt x="138" y="167"/>
                </a:lnTo>
                <a:lnTo>
                  <a:pt x="138" y="320"/>
                </a:lnTo>
                <a:lnTo>
                  <a:pt x="189" y="320"/>
                </a:lnTo>
                <a:close/>
                <a:moveTo>
                  <a:pt x="155" y="185"/>
                </a:moveTo>
                <a:lnTo>
                  <a:pt x="172" y="185"/>
                </a:lnTo>
                <a:lnTo>
                  <a:pt x="172" y="302"/>
                </a:lnTo>
                <a:lnTo>
                  <a:pt x="155" y="302"/>
                </a:lnTo>
                <a:lnTo>
                  <a:pt x="155" y="185"/>
                </a:lnTo>
                <a:close/>
                <a:moveTo>
                  <a:pt x="255" y="320"/>
                </a:moveTo>
                <a:lnTo>
                  <a:pt x="255" y="167"/>
                </a:lnTo>
                <a:lnTo>
                  <a:pt x="204" y="167"/>
                </a:lnTo>
                <a:lnTo>
                  <a:pt x="204" y="320"/>
                </a:lnTo>
                <a:lnTo>
                  <a:pt x="255" y="320"/>
                </a:lnTo>
                <a:close/>
                <a:moveTo>
                  <a:pt x="220" y="185"/>
                </a:moveTo>
                <a:lnTo>
                  <a:pt x="237" y="185"/>
                </a:lnTo>
                <a:lnTo>
                  <a:pt x="237" y="302"/>
                </a:lnTo>
                <a:lnTo>
                  <a:pt x="220" y="302"/>
                </a:lnTo>
                <a:lnTo>
                  <a:pt x="220" y="185"/>
                </a:lnTo>
                <a:close/>
                <a:moveTo>
                  <a:pt x="320" y="320"/>
                </a:moveTo>
                <a:lnTo>
                  <a:pt x="320" y="167"/>
                </a:lnTo>
                <a:lnTo>
                  <a:pt x="269" y="167"/>
                </a:lnTo>
                <a:lnTo>
                  <a:pt x="269" y="320"/>
                </a:lnTo>
                <a:lnTo>
                  <a:pt x="320" y="320"/>
                </a:lnTo>
                <a:close/>
                <a:moveTo>
                  <a:pt x="287" y="185"/>
                </a:moveTo>
                <a:lnTo>
                  <a:pt x="304" y="185"/>
                </a:lnTo>
                <a:lnTo>
                  <a:pt x="304" y="302"/>
                </a:lnTo>
                <a:lnTo>
                  <a:pt x="287" y="302"/>
                </a:lnTo>
                <a:lnTo>
                  <a:pt x="287" y="185"/>
                </a:lnTo>
                <a:close/>
              </a:path>
            </a:pathLst>
          </a:custGeom>
          <a:solidFill>
            <a:schemeClr val="tx1"/>
          </a:solidFill>
          <a:ln w="3175"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defTabSz="1143000">
              <a:buClrTx/>
            </a:pPr>
            <a:endParaRPr lang="en-US" sz="1050" kern="1200">
              <a:solidFill>
                <a:srgbClr val="D04A02"/>
              </a:solidFill>
              <a:latin typeface="Calibri "/>
              <a:ea typeface="+mn-ea"/>
              <a:cs typeface="+mn-cs"/>
            </a:endParaRPr>
          </a:p>
        </p:txBody>
      </p:sp>
      <p:sp>
        <p:nvSpPr>
          <p:cNvPr id="8" name="Freeform 7">
            <a:extLst>
              <a:ext uri="{FF2B5EF4-FFF2-40B4-BE49-F238E27FC236}">
                <a16:creationId xmlns:a16="http://schemas.microsoft.com/office/drawing/2014/main" id="{DE9F2428-6B91-45F0-A805-0E0CB05D9E51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26728" y="6038743"/>
            <a:ext cx="592851" cy="592851"/>
          </a:xfrm>
          <a:custGeom>
            <a:avLst/>
            <a:gdLst>
              <a:gd name="T0" fmla="*/ 0 w 396"/>
              <a:gd name="T1" fmla="*/ 396 h 396"/>
              <a:gd name="T2" fmla="*/ 396 w 396"/>
              <a:gd name="T3" fmla="*/ 0 h 396"/>
              <a:gd name="T4" fmla="*/ 379 w 396"/>
              <a:gd name="T5" fmla="*/ 284 h 396"/>
              <a:gd name="T6" fmla="*/ 251 w 396"/>
              <a:gd name="T7" fmla="*/ 206 h 396"/>
              <a:gd name="T8" fmla="*/ 317 w 396"/>
              <a:gd name="T9" fmla="*/ 190 h 396"/>
              <a:gd name="T10" fmla="*/ 334 w 396"/>
              <a:gd name="T11" fmla="*/ 206 h 396"/>
              <a:gd name="T12" fmla="*/ 318 w 396"/>
              <a:gd name="T13" fmla="*/ 189 h 396"/>
              <a:gd name="T14" fmla="*/ 379 w 396"/>
              <a:gd name="T15" fmla="*/ 284 h 396"/>
              <a:gd name="T16" fmla="*/ 83 w 396"/>
              <a:gd name="T17" fmla="*/ 301 h 396"/>
              <a:gd name="T18" fmla="*/ 18 w 396"/>
              <a:gd name="T19" fmla="*/ 301 h 396"/>
              <a:gd name="T20" fmla="*/ 18 w 396"/>
              <a:gd name="T21" fmla="*/ 206 h 396"/>
              <a:gd name="T22" fmla="*/ 27 w 396"/>
              <a:gd name="T23" fmla="*/ 189 h 396"/>
              <a:gd name="T24" fmla="*/ 18 w 396"/>
              <a:gd name="T25" fmla="*/ 111 h 396"/>
              <a:gd name="T26" fmla="*/ 294 w 396"/>
              <a:gd name="T27" fmla="*/ 189 h 396"/>
              <a:gd name="T28" fmla="*/ 233 w 396"/>
              <a:gd name="T29" fmla="*/ 201 h 396"/>
              <a:gd name="T30" fmla="*/ 215 w 396"/>
              <a:gd name="T31" fmla="*/ 189 h 396"/>
              <a:gd name="T32" fmla="*/ 227 w 396"/>
              <a:gd name="T33" fmla="*/ 206 h 396"/>
              <a:gd name="T34" fmla="*/ 18 w 396"/>
              <a:gd name="T35" fmla="*/ 284 h 396"/>
              <a:gd name="T36" fmla="*/ 379 w 396"/>
              <a:gd name="T37" fmla="*/ 95 h 396"/>
              <a:gd name="T38" fmla="*/ 18 w 396"/>
              <a:gd name="T39" fmla="*/ 16 h 396"/>
              <a:gd name="T40" fmla="*/ 29 w 396"/>
              <a:gd name="T41" fmla="*/ 379 h 396"/>
              <a:gd name="T42" fmla="*/ 379 w 396"/>
              <a:gd name="T43" fmla="*/ 301 h 396"/>
              <a:gd name="T44" fmla="*/ 29 w 396"/>
              <a:gd name="T45" fmla="*/ 379 h 396"/>
              <a:gd name="T46" fmla="*/ 351 w 396"/>
              <a:gd name="T47" fmla="*/ 206 h 396"/>
              <a:gd name="T48" fmla="*/ 369 w 396"/>
              <a:gd name="T49" fmla="*/ 189 h 396"/>
              <a:gd name="T50" fmla="*/ 198 w 396"/>
              <a:gd name="T51" fmla="*/ 206 h 396"/>
              <a:gd name="T52" fmla="*/ 181 w 396"/>
              <a:gd name="T53" fmla="*/ 189 h 396"/>
              <a:gd name="T54" fmla="*/ 198 w 396"/>
              <a:gd name="T55" fmla="*/ 206 h 396"/>
              <a:gd name="T56" fmla="*/ 147 w 396"/>
              <a:gd name="T57" fmla="*/ 206 h 396"/>
              <a:gd name="T58" fmla="*/ 164 w 396"/>
              <a:gd name="T59" fmla="*/ 189 h 396"/>
              <a:gd name="T60" fmla="*/ 112 w 396"/>
              <a:gd name="T61" fmla="*/ 189 h 396"/>
              <a:gd name="T62" fmla="*/ 130 w 396"/>
              <a:gd name="T63" fmla="*/ 206 h 396"/>
              <a:gd name="T64" fmla="*/ 112 w 396"/>
              <a:gd name="T65" fmla="*/ 189 h 396"/>
              <a:gd name="T66" fmla="*/ 61 w 396"/>
              <a:gd name="T67" fmla="*/ 189 h 396"/>
              <a:gd name="T68" fmla="*/ 44 w 396"/>
              <a:gd name="T69" fmla="*/ 206 h 396"/>
              <a:gd name="T70" fmla="*/ 78 w 396"/>
              <a:gd name="T71" fmla="*/ 189 h 396"/>
              <a:gd name="T72" fmla="*/ 95 w 396"/>
              <a:gd name="T73" fmla="*/ 206 h 396"/>
              <a:gd name="T74" fmla="*/ 78 w 396"/>
              <a:gd name="T75" fmla="*/ 189 h 39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</a:cxnLst>
            <a:rect l="0" t="0" r="r" b="b"/>
            <a:pathLst>
              <a:path w="396" h="396">
                <a:moveTo>
                  <a:pt x="0" y="0"/>
                </a:moveTo>
                <a:lnTo>
                  <a:pt x="0" y="396"/>
                </a:lnTo>
                <a:lnTo>
                  <a:pt x="396" y="396"/>
                </a:lnTo>
                <a:lnTo>
                  <a:pt x="396" y="0"/>
                </a:lnTo>
                <a:lnTo>
                  <a:pt x="0" y="0"/>
                </a:lnTo>
                <a:close/>
                <a:moveTo>
                  <a:pt x="379" y="284"/>
                </a:moveTo>
                <a:lnTo>
                  <a:pt x="172" y="284"/>
                </a:lnTo>
                <a:lnTo>
                  <a:pt x="251" y="206"/>
                </a:lnTo>
                <a:lnTo>
                  <a:pt x="301" y="206"/>
                </a:lnTo>
                <a:lnTo>
                  <a:pt x="317" y="190"/>
                </a:lnTo>
                <a:lnTo>
                  <a:pt x="317" y="206"/>
                </a:lnTo>
                <a:lnTo>
                  <a:pt x="334" y="206"/>
                </a:lnTo>
                <a:lnTo>
                  <a:pt x="334" y="189"/>
                </a:lnTo>
                <a:lnTo>
                  <a:pt x="318" y="189"/>
                </a:lnTo>
                <a:lnTo>
                  <a:pt x="379" y="127"/>
                </a:lnTo>
                <a:lnTo>
                  <a:pt x="379" y="284"/>
                </a:lnTo>
                <a:close/>
                <a:moveTo>
                  <a:pt x="18" y="301"/>
                </a:moveTo>
                <a:lnTo>
                  <a:pt x="83" y="301"/>
                </a:lnTo>
                <a:lnTo>
                  <a:pt x="18" y="368"/>
                </a:lnTo>
                <a:lnTo>
                  <a:pt x="18" y="301"/>
                </a:lnTo>
                <a:close/>
                <a:moveTo>
                  <a:pt x="18" y="284"/>
                </a:moveTo>
                <a:lnTo>
                  <a:pt x="18" y="206"/>
                </a:lnTo>
                <a:lnTo>
                  <a:pt x="27" y="206"/>
                </a:lnTo>
                <a:lnTo>
                  <a:pt x="27" y="189"/>
                </a:lnTo>
                <a:lnTo>
                  <a:pt x="18" y="189"/>
                </a:lnTo>
                <a:lnTo>
                  <a:pt x="18" y="111"/>
                </a:lnTo>
                <a:lnTo>
                  <a:pt x="371" y="111"/>
                </a:lnTo>
                <a:lnTo>
                  <a:pt x="294" y="189"/>
                </a:lnTo>
                <a:lnTo>
                  <a:pt x="244" y="189"/>
                </a:lnTo>
                <a:lnTo>
                  <a:pt x="233" y="201"/>
                </a:lnTo>
                <a:lnTo>
                  <a:pt x="233" y="189"/>
                </a:lnTo>
                <a:lnTo>
                  <a:pt x="215" y="189"/>
                </a:lnTo>
                <a:lnTo>
                  <a:pt x="215" y="206"/>
                </a:lnTo>
                <a:lnTo>
                  <a:pt x="227" y="206"/>
                </a:lnTo>
                <a:lnTo>
                  <a:pt x="149" y="284"/>
                </a:lnTo>
                <a:lnTo>
                  <a:pt x="18" y="284"/>
                </a:lnTo>
                <a:close/>
                <a:moveTo>
                  <a:pt x="379" y="16"/>
                </a:moveTo>
                <a:lnTo>
                  <a:pt x="379" y="95"/>
                </a:lnTo>
                <a:lnTo>
                  <a:pt x="18" y="95"/>
                </a:lnTo>
                <a:lnTo>
                  <a:pt x="18" y="16"/>
                </a:lnTo>
                <a:lnTo>
                  <a:pt x="379" y="16"/>
                </a:lnTo>
                <a:close/>
                <a:moveTo>
                  <a:pt x="29" y="379"/>
                </a:moveTo>
                <a:lnTo>
                  <a:pt x="107" y="301"/>
                </a:lnTo>
                <a:lnTo>
                  <a:pt x="379" y="301"/>
                </a:lnTo>
                <a:lnTo>
                  <a:pt x="379" y="379"/>
                </a:lnTo>
                <a:lnTo>
                  <a:pt x="29" y="379"/>
                </a:lnTo>
                <a:close/>
                <a:moveTo>
                  <a:pt x="369" y="206"/>
                </a:moveTo>
                <a:lnTo>
                  <a:pt x="351" y="206"/>
                </a:lnTo>
                <a:lnTo>
                  <a:pt x="351" y="189"/>
                </a:lnTo>
                <a:lnTo>
                  <a:pt x="369" y="189"/>
                </a:lnTo>
                <a:lnTo>
                  <a:pt x="369" y="206"/>
                </a:lnTo>
                <a:close/>
                <a:moveTo>
                  <a:pt x="198" y="206"/>
                </a:moveTo>
                <a:lnTo>
                  <a:pt x="181" y="206"/>
                </a:lnTo>
                <a:lnTo>
                  <a:pt x="181" y="189"/>
                </a:lnTo>
                <a:lnTo>
                  <a:pt x="198" y="189"/>
                </a:lnTo>
                <a:lnTo>
                  <a:pt x="198" y="206"/>
                </a:lnTo>
                <a:close/>
                <a:moveTo>
                  <a:pt x="164" y="206"/>
                </a:moveTo>
                <a:lnTo>
                  <a:pt x="147" y="206"/>
                </a:lnTo>
                <a:lnTo>
                  <a:pt x="147" y="189"/>
                </a:lnTo>
                <a:lnTo>
                  <a:pt x="164" y="189"/>
                </a:lnTo>
                <a:lnTo>
                  <a:pt x="164" y="206"/>
                </a:lnTo>
                <a:close/>
                <a:moveTo>
                  <a:pt x="112" y="189"/>
                </a:moveTo>
                <a:lnTo>
                  <a:pt x="130" y="189"/>
                </a:lnTo>
                <a:lnTo>
                  <a:pt x="130" y="206"/>
                </a:lnTo>
                <a:lnTo>
                  <a:pt x="112" y="206"/>
                </a:lnTo>
                <a:lnTo>
                  <a:pt x="112" y="189"/>
                </a:lnTo>
                <a:close/>
                <a:moveTo>
                  <a:pt x="44" y="189"/>
                </a:moveTo>
                <a:lnTo>
                  <a:pt x="61" y="189"/>
                </a:lnTo>
                <a:lnTo>
                  <a:pt x="61" y="206"/>
                </a:lnTo>
                <a:lnTo>
                  <a:pt x="44" y="206"/>
                </a:lnTo>
                <a:lnTo>
                  <a:pt x="44" y="189"/>
                </a:lnTo>
                <a:close/>
                <a:moveTo>
                  <a:pt x="78" y="189"/>
                </a:moveTo>
                <a:lnTo>
                  <a:pt x="95" y="189"/>
                </a:lnTo>
                <a:lnTo>
                  <a:pt x="95" y="206"/>
                </a:lnTo>
                <a:lnTo>
                  <a:pt x="78" y="206"/>
                </a:lnTo>
                <a:lnTo>
                  <a:pt x="78" y="189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9" name="Freeform 13">
            <a:extLst>
              <a:ext uri="{FF2B5EF4-FFF2-40B4-BE49-F238E27FC236}">
                <a16:creationId xmlns:a16="http://schemas.microsoft.com/office/drawing/2014/main" id="{6264BEC2-589E-4EAA-A6BC-2A42494B86F5}"/>
              </a:ext>
            </a:extLst>
          </p:cNvPr>
          <p:cNvSpPr>
            <a:spLocks noChangeAspect="1" noEditPoints="1"/>
          </p:cNvSpPr>
          <p:nvPr/>
        </p:nvSpPr>
        <p:spPr bwMode="auto">
          <a:xfrm>
            <a:off x="1326728" y="7117699"/>
            <a:ext cx="571500" cy="543242"/>
          </a:xfrm>
          <a:custGeom>
            <a:avLst/>
            <a:gdLst>
              <a:gd name="T0" fmla="*/ 0 w 346"/>
              <a:gd name="T1" fmla="*/ 0 h 346"/>
              <a:gd name="T2" fmla="*/ 0 w 346"/>
              <a:gd name="T3" fmla="*/ 346 h 346"/>
              <a:gd name="T4" fmla="*/ 346 w 346"/>
              <a:gd name="T5" fmla="*/ 346 h 346"/>
              <a:gd name="T6" fmla="*/ 346 w 346"/>
              <a:gd name="T7" fmla="*/ 0 h 346"/>
              <a:gd name="T8" fmla="*/ 0 w 346"/>
              <a:gd name="T9" fmla="*/ 0 h 346"/>
              <a:gd name="T10" fmla="*/ 115 w 346"/>
              <a:gd name="T11" fmla="*/ 113 h 346"/>
              <a:gd name="T12" fmla="*/ 147 w 346"/>
              <a:gd name="T13" fmla="*/ 85 h 346"/>
              <a:gd name="T14" fmla="*/ 147 w 346"/>
              <a:gd name="T15" fmla="*/ 187 h 346"/>
              <a:gd name="T16" fmla="*/ 94 w 346"/>
              <a:gd name="T17" fmla="*/ 240 h 346"/>
              <a:gd name="T18" fmla="*/ 94 w 346"/>
              <a:gd name="T19" fmla="*/ 136 h 346"/>
              <a:gd name="T20" fmla="*/ 115 w 346"/>
              <a:gd name="T21" fmla="*/ 113 h 346"/>
              <a:gd name="T22" fmla="*/ 318 w 346"/>
              <a:gd name="T23" fmla="*/ 16 h 346"/>
              <a:gd name="T24" fmla="*/ 230 w 346"/>
              <a:gd name="T25" fmla="*/ 104 h 346"/>
              <a:gd name="T26" fmla="*/ 230 w 346"/>
              <a:gd name="T27" fmla="*/ 39 h 346"/>
              <a:gd name="T28" fmla="*/ 318 w 346"/>
              <a:gd name="T29" fmla="*/ 16 h 346"/>
              <a:gd name="T30" fmla="*/ 216 w 346"/>
              <a:gd name="T31" fmla="*/ 119 h 346"/>
              <a:gd name="T32" fmla="*/ 162 w 346"/>
              <a:gd name="T33" fmla="*/ 172 h 346"/>
              <a:gd name="T34" fmla="*/ 162 w 346"/>
              <a:gd name="T35" fmla="*/ 74 h 346"/>
              <a:gd name="T36" fmla="*/ 216 w 346"/>
              <a:gd name="T37" fmla="*/ 45 h 346"/>
              <a:gd name="T38" fmla="*/ 216 w 346"/>
              <a:gd name="T39" fmla="*/ 119 h 346"/>
              <a:gd name="T40" fmla="*/ 79 w 346"/>
              <a:gd name="T41" fmla="*/ 255 h 346"/>
              <a:gd name="T42" fmla="*/ 17 w 346"/>
              <a:gd name="T43" fmla="*/ 318 h 346"/>
              <a:gd name="T44" fmla="*/ 79 w 346"/>
              <a:gd name="T45" fmla="*/ 156 h 346"/>
              <a:gd name="T46" fmla="*/ 79 w 346"/>
              <a:gd name="T47" fmla="*/ 255 h 346"/>
              <a:gd name="T48" fmla="*/ 90 w 346"/>
              <a:gd name="T49" fmla="*/ 266 h 346"/>
              <a:gd name="T50" fmla="*/ 191 w 346"/>
              <a:gd name="T51" fmla="*/ 266 h 346"/>
              <a:gd name="T52" fmla="*/ 26 w 346"/>
              <a:gd name="T53" fmla="*/ 329 h 346"/>
              <a:gd name="T54" fmla="*/ 90 w 346"/>
              <a:gd name="T55" fmla="*/ 266 h 346"/>
              <a:gd name="T56" fmla="*/ 210 w 346"/>
              <a:gd name="T57" fmla="*/ 251 h 346"/>
              <a:gd name="T58" fmla="*/ 105 w 346"/>
              <a:gd name="T59" fmla="*/ 251 h 346"/>
              <a:gd name="T60" fmla="*/ 158 w 346"/>
              <a:gd name="T61" fmla="*/ 198 h 346"/>
              <a:gd name="T62" fmla="*/ 261 w 346"/>
              <a:gd name="T63" fmla="*/ 198 h 346"/>
              <a:gd name="T64" fmla="*/ 231 w 346"/>
              <a:gd name="T65" fmla="*/ 232 h 346"/>
              <a:gd name="T66" fmla="*/ 210 w 346"/>
              <a:gd name="T67" fmla="*/ 251 h 346"/>
              <a:gd name="T68" fmla="*/ 271 w 346"/>
              <a:gd name="T69" fmla="*/ 183 h 346"/>
              <a:gd name="T70" fmla="*/ 173 w 346"/>
              <a:gd name="T71" fmla="*/ 183 h 346"/>
              <a:gd name="T72" fmla="*/ 226 w 346"/>
              <a:gd name="T73" fmla="*/ 130 h 346"/>
              <a:gd name="T74" fmla="*/ 300 w 346"/>
              <a:gd name="T75" fmla="*/ 130 h 346"/>
              <a:gd name="T76" fmla="*/ 271 w 346"/>
              <a:gd name="T77" fmla="*/ 183 h 346"/>
              <a:gd name="T78" fmla="*/ 306 w 346"/>
              <a:gd name="T79" fmla="*/ 115 h 346"/>
              <a:gd name="T80" fmla="*/ 241 w 346"/>
              <a:gd name="T81" fmla="*/ 115 h 346"/>
              <a:gd name="T82" fmla="*/ 330 w 346"/>
              <a:gd name="T83" fmla="*/ 26 h 346"/>
              <a:gd name="T84" fmla="*/ 306 w 346"/>
              <a:gd name="T85" fmla="*/ 115 h 346"/>
              <a:gd name="T86" fmla="*/ 256 w 346"/>
              <a:gd name="T87" fmla="*/ 14 h 346"/>
              <a:gd name="T88" fmla="*/ 105 w 346"/>
              <a:gd name="T89" fmla="*/ 103 h 346"/>
              <a:gd name="T90" fmla="*/ 80 w 346"/>
              <a:gd name="T91" fmla="*/ 130 h 346"/>
              <a:gd name="T92" fmla="*/ 79 w 346"/>
              <a:gd name="T93" fmla="*/ 130 h 346"/>
              <a:gd name="T94" fmla="*/ 79 w 346"/>
              <a:gd name="T95" fmla="*/ 131 h 346"/>
              <a:gd name="T96" fmla="*/ 15 w 346"/>
              <a:gd name="T97" fmla="*/ 257 h 346"/>
              <a:gd name="T98" fmla="*/ 15 w 346"/>
              <a:gd name="T99" fmla="*/ 14 h 346"/>
              <a:gd name="T100" fmla="*/ 256 w 346"/>
              <a:gd name="T101" fmla="*/ 14 h 346"/>
              <a:gd name="T102" fmla="*/ 90 w 346"/>
              <a:gd name="T103" fmla="*/ 331 h 346"/>
              <a:gd name="T104" fmla="*/ 242 w 346"/>
              <a:gd name="T105" fmla="*/ 242 h 346"/>
              <a:gd name="T106" fmla="*/ 331 w 346"/>
              <a:gd name="T107" fmla="*/ 88 h 346"/>
              <a:gd name="T108" fmla="*/ 331 w 346"/>
              <a:gd name="T109" fmla="*/ 331 h 346"/>
              <a:gd name="T110" fmla="*/ 90 w 346"/>
              <a:gd name="T111" fmla="*/ 331 h 346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  <a:cxn ang="0">
                <a:pos x="T106" y="T107"/>
              </a:cxn>
              <a:cxn ang="0">
                <a:pos x="T108" y="T109"/>
              </a:cxn>
              <a:cxn ang="0">
                <a:pos x="T110" y="T111"/>
              </a:cxn>
            </a:cxnLst>
            <a:rect l="0" t="0" r="r" b="b"/>
            <a:pathLst>
              <a:path w="346" h="346">
                <a:moveTo>
                  <a:pt x="0" y="0"/>
                </a:moveTo>
                <a:cubicBezTo>
                  <a:pt x="0" y="346"/>
                  <a:pt x="0" y="346"/>
                  <a:pt x="0" y="346"/>
                </a:cubicBezTo>
                <a:cubicBezTo>
                  <a:pt x="346" y="346"/>
                  <a:pt x="346" y="346"/>
                  <a:pt x="346" y="346"/>
                </a:cubicBezTo>
                <a:cubicBezTo>
                  <a:pt x="346" y="0"/>
                  <a:pt x="346" y="0"/>
                  <a:pt x="346" y="0"/>
                </a:cubicBezTo>
                <a:lnTo>
                  <a:pt x="0" y="0"/>
                </a:lnTo>
                <a:close/>
                <a:moveTo>
                  <a:pt x="115" y="113"/>
                </a:moveTo>
                <a:cubicBezTo>
                  <a:pt x="126" y="103"/>
                  <a:pt x="136" y="93"/>
                  <a:pt x="147" y="85"/>
                </a:cubicBezTo>
                <a:cubicBezTo>
                  <a:pt x="147" y="187"/>
                  <a:pt x="147" y="187"/>
                  <a:pt x="147" y="187"/>
                </a:cubicBezTo>
                <a:cubicBezTo>
                  <a:pt x="94" y="240"/>
                  <a:pt x="94" y="240"/>
                  <a:pt x="94" y="240"/>
                </a:cubicBezTo>
                <a:cubicBezTo>
                  <a:pt x="94" y="136"/>
                  <a:pt x="94" y="136"/>
                  <a:pt x="94" y="136"/>
                </a:cubicBezTo>
                <a:cubicBezTo>
                  <a:pt x="101" y="129"/>
                  <a:pt x="108" y="121"/>
                  <a:pt x="115" y="113"/>
                </a:cubicBezTo>
                <a:close/>
                <a:moveTo>
                  <a:pt x="318" y="16"/>
                </a:moveTo>
                <a:cubicBezTo>
                  <a:pt x="230" y="104"/>
                  <a:pt x="230" y="104"/>
                  <a:pt x="230" y="104"/>
                </a:cubicBezTo>
                <a:cubicBezTo>
                  <a:pt x="230" y="39"/>
                  <a:pt x="230" y="39"/>
                  <a:pt x="230" y="39"/>
                </a:cubicBezTo>
                <a:cubicBezTo>
                  <a:pt x="267" y="25"/>
                  <a:pt x="299" y="19"/>
                  <a:pt x="318" y="16"/>
                </a:cubicBezTo>
                <a:close/>
                <a:moveTo>
                  <a:pt x="216" y="119"/>
                </a:moveTo>
                <a:cubicBezTo>
                  <a:pt x="162" y="172"/>
                  <a:pt x="162" y="172"/>
                  <a:pt x="162" y="172"/>
                </a:cubicBezTo>
                <a:cubicBezTo>
                  <a:pt x="162" y="74"/>
                  <a:pt x="162" y="74"/>
                  <a:pt x="162" y="74"/>
                </a:cubicBezTo>
                <a:cubicBezTo>
                  <a:pt x="180" y="62"/>
                  <a:pt x="198" y="53"/>
                  <a:pt x="216" y="45"/>
                </a:cubicBezTo>
                <a:lnTo>
                  <a:pt x="216" y="119"/>
                </a:lnTo>
                <a:close/>
                <a:moveTo>
                  <a:pt x="79" y="255"/>
                </a:moveTo>
                <a:cubicBezTo>
                  <a:pt x="17" y="318"/>
                  <a:pt x="17" y="318"/>
                  <a:pt x="17" y="318"/>
                </a:cubicBezTo>
                <a:cubicBezTo>
                  <a:pt x="21" y="285"/>
                  <a:pt x="36" y="218"/>
                  <a:pt x="79" y="156"/>
                </a:cubicBezTo>
                <a:lnTo>
                  <a:pt x="79" y="255"/>
                </a:lnTo>
                <a:close/>
                <a:moveTo>
                  <a:pt x="90" y="266"/>
                </a:moveTo>
                <a:cubicBezTo>
                  <a:pt x="191" y="266"/>
                  <a:pt x="191" y="266"/>
                  <a:pt x="191" y="266"/>
                </a:cubicBezTo>
                <a:cubicBezTo>
                  <a:pt x="127" y="311"/>
                  <a:pt x="59" y="325"/>
                  <a:pt x="26" y="329"/>
                </a:cubicBezTo>
                <a:lnTo>
                  <a:pt x="90" y="266"/>
                </a:lnTo>
                <a:close/>
                <a:moveTo>
                  <a:pt x="210" y="251"/>
                </a:moveTo>
                <a:cubicBezTo>
                  <a:pt x="105" y="251"/>
                  <a:pt x="105" y="251"/>
                  <a:pt x="105" y="251"/>
                </a:cubicBezTo>
                <a:cubicBezTo>
                  <a:pt x="158" y="198"/>
                  <a:pt x="158" y="198"/>
                  <a:pt x="158" y="198"/>
                </a:cubicBezTo>
                <a:cubicBezTo>
                  <a:pt x="261" y="198"/>
                  <a:pt x="261" y="198"/>
                  <a:pt x="261" y="198"/>
                </a:cubicBezTo>
                <a:cubicBezTo>
                  <a:pt x="252" y="209"/>
                  <a:pt x="242" y="221"/>
                  <a:pt x="231" y="232"/>
                </a:cubicBezTo>
                <a:cubicBezTo>
                  <a:pt x="224" y="239"/>
                  <a:pt x="217" y="245"/>
                  <a:pt x="210" y="251"/>
                </a:cubicBezTo>
                <a:close/>
                <a:moveTo>
                  <a:pt x="271" y="183"/>
                </a:moveTo>
                <a:cubicBezTo>
                  <a:pt x="173" y="183"/>
                  <a:pt x="173" y="183"/>
                  <a:pt x="173" y="183"/>
                </a:cubicBezTo>
                <a:cubicBezTo>
                  <a:pt x="226" y="130"/>
                  <a:pt x="226" y="130"/>
                  <a:pt x="226" y="130"/>
                </a:cubicBezTo>
                <a:cubicBezTo>
                  <a:pt x="300" y="130"/>
                  <a:pt x="300" y="130"/>
                  <a:pt x="300" y="130"/>
                </a:cubicBezTo>
                <a:cubicBezTo>
                  <a:pt x="293" y="147"/>
                  <a:pt x="283" y="165"/>
                  <a:pt x="271" y="183"/>
                </a:cubicBezTo>
                <a:close/>
                <a:moveTo>
                  <a:pt x="306" y="115"/>
                </a:moveTo>
                <a:cubicBezTo>
                  <a:pt x="241" y="115"/>
                  <a:pt x="241" y="115"/>
                  <a:pt x="241" y="115"/>
                </a:cubicBezTo>
                <a:cubicBezTo>
                  <a:pt x="330" y="26"/>
                  <a:pt x="330" y="26"/>
                  <a:pt x="330" y="26"/>
                </a:cubicBezTo>
                <a:cubicBezTo>
                  <a:pt x="327" y="45"/>
                  <a:pt x="321" y="78"/>
                  <a:pt x="306" y="115"/>
                </a:cubicBezTo>
                <a:close/>
                <a:moveTo>
                  <a:pt x="256" y="14"/>
                </a:moveTo>
                <a:cubicBezTo>
                  <a:pt x="211" y="28"/>
                  <a:pt x="154" y="53"/>
                  <a:pt x="105" y="103"/>
                </a:cubicBezTo>
                <a:cubicBezTo>
                  <a:pt x="96" y="112"/>
                  <a:pt x="88" y="121"/>
                  <a:pt x="80" y="130"/>
                </a:cubicBezTo>
                <a:cubicBezTo>
                  <a:pt x="79" y="130"/>
                  <a:pt x="79" y="130"/>
                  <a:pt x="79" y="130"/>
                </a:cubicBezTo>
                <a:cubicBezTo>
                  <a:pt x="79" y="131"/>
                  <a:pt x="79" y="131"/>
                  <a:pt x="79" y="131"/>
                </a:cubicBezTo>
                <a:cubicBezTo>
                  <a:pt x="45" y="174"/>
                  <a:pt x="26" y="219"/>
                  <a:pt x="15" y="257"/>
                </a:cubicBezTo>
                <a:cubicBezTo>
                  <a:pt x="15" y="14"/>
                  <a:pt x="15" y="14"/>
                  <a:pt x="15" y="14"/>
                </a:cubicBezTo>
                <a:lnTo>
                  <a:pt x="256" y="14"/>
                </a:lnTo>
                <a:close/>
                <a:moveTo>
                  <a:pt x="90" y="331"/>
                </a:moveTo>
                <a:cubicBezTo>
                  <a:pt x="136" y="317"/>
                  <a:pt x="192" y="292"/>
                  <a:pt x="242" y="242"/>
                </a:cubicBezTo>
                <a:cubicBezTo>
                  <a:pt x="292" y="192"/>
                  <a:pt x="318" y="134"/>
                  <a:pt x="331" y="88"/>
                </a:cubicBezTo>
                <a:cubicBezTo>
                  <a:pt x="331" y="331"/>
                  <a:pt x="331" y="331"/>
                  <a:pt x="331" y="331"/>
                </a:cubicBezTo>
                <a:lnTo>
                  <a:pt x="90" y="331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85725" tIns="42863" rIns="85725" bIns="42863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srgbClr val="D04A02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sp>
        <p:nvSpPr>
          <p:cNvPr id="11" name="Freeform 106">
            <a:extLst>
              <a:ext uri="{FF2B5EF4-FFF2-40B4-BE49-F238E27FC236}">
                <a16:creationId xmlns:a16="http://schemas.microsoft.com/office/drawing/2014/main" id="{FDF83C0C-A5F5-4610-BAE8-87A1DF06439A}"/>
              </a:ext>
            </a:extLst>
          </p:cNvPr>
          <p:cNvSpPr>
            <a:spLocks noEditPoints="1"/>
          </p:cNvSpPr>
          <p:nvPr/>
        </p:nvSpPr>
        <p:spPr bwMode="auto">
          <a:xfrm>
            <a:off x="1326728" y="8147046"/>
            <a:ext cx="571500" cy="503829"/>
          </a:xfrm>
          <a:custGeom>
            <a:avLst/>
            <a:gdLst>
              <a:gd name="T0" fmla="*/ 148 w 192"/>
              <a:gd name="T1" fmla="*/ 31 h 192"/>
              <a:gd name="T2" fmla="*/ 148 w 192"/>
              <a:gd name="T3" fmla="*/ 0 h 192"/>
              <a:gd name="T4" fmla="*/ 44 w 192"/>
              <a:gd name="T5" fmla="*/ 0 h 192"/>
              <a:gd name="T6" fmla="*/ 44 w 192"/>
              <a:gd name="T7" fmla="*/ 31 h 192"/>
              <a:gd name="T8" fmla="*/ 0 w 192"/>
              <a:gd name="T9" fmla="*/ 31 h 192"/>
              <a:gd name="T10" fmla="*/ 0 w 192"/>
              <a:gd name="T11" fmla="*/ 77 h 192"/>
              <a:gd name="T12" fmla="*/ 0 w 192"/>
              <a:gd name="T13" fmla="*/ 192 h 192"/>
              <a:gd name="T14" fmla="*/ 155 w 192"/>
              <a:gd name="T15" fmla="*/ 192 h 192"/>
              <a:gd name="T16" fmla="*/ 192 w 192"/>
              <a:gd name="T17" fmla="*/ 192 h 192"/>
              <a:gd name="T18" fmla="*/ 192 w 192"/>
              <a:gd name="T19" fmla="*/ 31 h 192"/>
              <a:gd name="T20" fmla="*/ 148 w 192"/>
              <a:gd name="T21" fmla="*/ 31 h 192"/>
              <a:gd name="T22" fmla="*/ 52 w 192"/>
              <a:gd name="T23" fmla="*/ 8 h 192"/>
              <a:gd name="T24" fmla="*/ 140 w 192"/>
              <a:gd name="T25" fmla="*/ 8 h 192"/>
              <a:gd name="T26" fmla="*/ 140 w 192"/>
              <a:gd name="T27" fmla="*/ 31 h 192"/>
              <a:gd name="T28" fmla="*/ 52 w 192"/>
              <a:gd name="T29" fmla="*/ 31 h 192"/>
              <a:gd name="T30" fmla="*/ 52 w 192"/>
              <a:gd name="T31" fmla="*/ 8 h 192"/>
              <a:gd name="T32" fmla="*/ 8 w 192"/>
              <a:gd name="T33" fmla="*/ 184 h 192"/>
              <a:gd name="T34" fmla="*/ 8 w 192"/>
              <a:gd name="T35" fmla="*/ 100 h 192"/>
              <a:gd name="T36" fmla="*/ 26 w 192"/>
              <a:gd name="T37" fmla="*/ 100 h 192"/>
              <a:gd name="T38" fmla="*/ 129 w 192"/>
              <a:gd name="T39" fmla="*/ 100 h 192"/>
              <a:gd name="T40" fmla="*/ 147 w 192"/>
              <a:gd name="T41" fmla="*/ 100 h 192"/>
              <a:gd name="T42" fmla="*/ 147 w 192"/>
              <a:gd name="T43" fmla="*/ 184 h 192"/>
              <a:gd name="T44" fmla="*/ 8 w 192"/>
              <a:gd name="T45" fmla="*/ 184 h 192"/>
              <a:gd name="T46" fmla="*/ 34 w 192"/>
              <a:gd name="T47" fmla="*/ 92 h 192"/>
              <a:gd name="T48" fmla="*/ 61 w 192"/>
              <a:gd name="T49" fmla="*/ 69 h 192"/>
              <a:gd name="T50" fmla="*/ 94 w 192"/>
              <a:gd name="T51" fmla="*/ 69 h 192"/>
              <a:gd name="T52" fmla="*/ 121 w 192"/>
              <a:gd name="T53" fmla="*/ 92 h 192"/>
              <a:gd name="T54" fmla="*/ 34 w 192"/>
              <a:gd name="T55" fmla="*/ 92 h 192"/>
              <a:gd name="T56" fmla="*/ 184 w 192"/>
              <a:gd name="T57" fmla="*/ 184 h 192"/>
              <a:gd name="T58" fmla="*/ 155 w 192"/>
              <a:gd name="T59" fmla="*/ 184 h 192"/>
              <a:gd name="T60" fmla="*/ 155 w 192"/>
              <a:gd name="T61" fmla="*/ 92 h 192"/>
              <a:gd name="T62" fmla="*/ 129 w 192"/>
              <a:gd name="T63" fmla="*/ 92 h 192"/>
              <a:gd name="T64" fmla="*/ 94 w 192"/>
              <a:gd name="T65" fmla="*/ 61 h 192"/>
              <a:gd name="T66" fmla="*/ 61 w 192"/>
              <a:gd name="T67" fmla="*/ 61 h 192"/>
              <a:gd name="T68" fmla="*/ 26 w 192"/>
              <a:gd name="T69" fmla="*/ 92 h 192"/>
              <a:gd name="T70" fmla="*/ 8 w 192"/>
              <a:gd name="T71" fmla="*/ 92 h 192"/>
              <a:gd name="T72" fmla="*/ 8 w 192"/>
              <a:gd name="T73" fmla="*/ 40 h 192"/>
              <a:gd name="T74" fmla="*/ 184 w 192"/>
              <a:gd name="T75" fmla="*/ 40 h 192"/>
              <a:gd name="T76" fmla="*/ 184 w 192"/>
              <a:gd name="T77" fmla="*/ 184 h 192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</a:cxnLst>
            <a:rect l="0" t="0" r="r" b="b"/>
            <a:pathLst>
              <a:path w="192" h="192">
                <a:moveTo>
                  <a:pt x="148" y="31"/>
                </a:moveTo>
                <a:cubicBezTo>
                  <a:pt x="148" y="0"/>
                  <a:pt x="148" y="0"/>
                  <a:pt x="148" y="0"/>
                </a:cubicBezTo>
                <a:cubicBezTo>
                  <a:pt x="44" y="0"/>
                  <a:pt x="44" y="0"/>
                  <a:pt x="44" y="0"/>
                </a:cubicBezTo>
                <a:cubicBezTo>
                  <a:pt x="44" y="31"/>
                  <a:pt x="44" y="31"/>
                  <a:pt x="44" y="31"/>
                </a:cubicBezTo>
                <a:cubicBezTo>
                  <a:pt x="0" y="31"/>
                  <a:pt x="0" y="31"/>
                  <a:pt x="0" y="31"/>
                </a:cubicBezTo>
                <a:cubicBezTo>
                  <a:pt x="0" y="77"/>
                  <a:pt x="0" y="77"/>
                  <a:pt x="0" y="77"/>
                </a:cubicBezTo>
                <a:cubicBezTo>
                  <a:pt x="0" y="192"/>
                  <a:pt x="0" y="192"/>
                  <a:pt x="0" y="192"/>
                </a:cubicBezTo>
                <a:cubicBezTo>
                  <a:pt x="155" y="192"/>
                  <a:pt x="155" y="192"/>
                  <a:pt x="155" y="192"/>
                </a:cubicBezTo>
                <a:cubicBezTo>
                  <a:pt x="192" y="192"/>
                  <a:pt x="192" y="192"/>
                  <a:pt x="192" y="192"/>
                </a:cubicBezTo>
                <a:cubicBezTo>
                  <a:pt x="192" y="31"/>
                  <a:pt x="192" y="31"/>
                  <a:pt x="192" y="31"/>
                </a:cubicBezTo>
                <a:lnTo>
                  <a:pt x="148" y="31"/>
                </a:lnTo>
                <a:close/>
                <a:moveTo>
                  <a:pt x="52" y="8"/>
                </a:moveTo>
                <a:cubicBezTo>
                  <a:pt x="140" y="8"/>
                  <a:pt x="140" y="8"/>
                  <a:pt x="140" y="8"/>
                </a:cubicBezTo>
                <a:cubicBezTo>
                  <a:pt x="140" y="31"/>
                  <a:pt x="140" y="31"/>
                  <a:pt x="140" y="31"/>
                </a:cubicBezTo>
                <a:cubicBezTo>
                  <a:pt x="52" y="31"/>
                  <a:pt x="52" y="31"/>
                  <a:pt x="52" y="31"/>
                </a:cubicBezTo>
                <a:lnTo>
                  <a:pt x="52" y="8"/>
                </a:lnTo>
                <a:close/>
                <a:moveTo>
                  <a:pt x="8" y="184"/>
                </a:moveTo>
                <a:cubicBezTo>
                  <a:pt x="8" y="100"/>
                  <a:pt x="8" y="100"/>
                  <a:pt x="8" y="100"/>
                </a:cubicBezTo>
                <a:cubicBezTo>
                  <a:pt x="26" y="100"/>
                  <a:pt x="26" y="100"/>
                  <a:pt x="26" y="100"/>
                </a:cubicBezTo>
                <a:cubicBezTo>
                  <a:pt x="129" y="100"/>
                  <a:pt x="129" y="100"/>
                  <a:pt x="129" y="100"/>
                </a:cubicBezTo>
                <a:cubicBezTo>
                  <a:pt x="147" y="100"/>
                  <a:pt x="147" y="100"/>
                  <a:pt x="147" y="100"/>
                </a:cubicBezTo>
                <a:cubicBezTo>
                  <a:pt x="147" y="184"/>
                  <a:pt x="147" y="184"/>
                  <a:pt x="147" y="184"/>
                </a:cubicBezTo>
                <a:lnTo>
                  <a:pt x="8" y="184"/>
                </a:lnTo>
                <a:close/>
                <a:moveTo>
                  <a:pt x="34" y="92"/>
                </a:moveTo>
                <a:cubicBezTo>
                  <a:pt x="36" y="79"/>
                  <a:pt x="47" y="69"/>
                  <a:pt x="61" y="69"/>
                </a:cubicBezTo>
                <a:cubicBezTo>
                  <a:pt x="94" y="69"/>
                  <a:pt x="94" y="69"/>
                  <a:pt x="94" y="69"/>
                </a:cubicBezTo>
                <a:cubicBezTo>
                  <a:pt x="108" y="69"/>
                  <a:pt x="119" y="79"/>
                  <a:pt x="121" y="92"/>
                </a:cubicBezTo>
                <a:lnTo>
                  <a:pt x="34" y="92"/>
                </a:lnTo>
                <a:close/>
                <a:moveTo>
                  <a:pt x="184" y="184"/>
                </a:moveTo>
                <a:cubicBezTo>
                  <a:pt x="155" y="184"/>
                  <a:pt x="155" y="184"/>
                  <a:pt x="155" y="184"/>
                </a:cubicBezTo>
                <a:cubicBezTo>
                  <a:pt x="155" y="92"/>
                  <a:pt x="155" y="92"/>
                  <a:pt x="155" y="92"/>
                </a:cubicBezTo>
                <a:cubicBezTo>
                  <a:pt x="129" y="92"/>
                  <a:pt x="129" y="92"/>
                  <a:pt x="129" y="92"/>
                </a:cubicBezTo>
                <a:cubicBezTo>
                  <a:pt x="127" y="75"/>
                  <a:pt x="112" y="61"/>
                  <a:pt x="94" y="61"/>
                </a:cubicBezTo>
                <a:cubicBezTo>
                  <a:pt x="61" y="61"/>
                  <a:pt x="61" y="61"/>
                  <a:pt x="61" y="61"/>
                </a:cubicBezTo>
                <a:cubicBezTo>
                  <a:pt x="43" y="61"/>
                  <a:pt x="28" y="75"/>
                  <a:pt x="26" y="92"/>
                </a:cubicBezTo>
                <a:cubicBezTo>
                  <a:pt x="8" y="92"/>
                  <a:pt x="8" y="92"/>
                  <a:pt x="8" y="92"/>
                </a:cubicBezTo>
                <a:cubicBezTo>
                  <a:pt x="8" y="40"/>
                  <a:pt x="8" y="40"/>
                  <a:pt x="8" y="40"/>
                </a:cubicBezTo>
                <a:cubicBezTo>
                  <a:pt x="184" y="40"/>
                  <a:pt x="184" y="40"/>
                  <a:pt x="184" y="40"/>
                </a:cubicBezTo>
                <a:lnTo>
                  <a:pt x="184" y="184"/>
                </a:lnTo>
                <a:close/>
              </a:path>
            </a:pathLst>
          </a:custGeom>
          <a:solidFill>
            <a:schemeClr val="tx1"/>
          </a:solidFill>
          <a:ln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5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  <p:grpSp>
        <p:nvGrpSpPr>
          <p:cNvPr id="12" name="Group 24">
            <a:extLst>
              <a:ext uri="{FF2B5EF4-FFF2-40B4-BE49-F238E27FC236}">
                <a16:creationId xmlns:a16="http://schemas.microsoft.com/office/drawing/2014/main" id="{9C1580F1-F81B-4045-BC9C-9BCAE7864E97}"/>
              </a:ext>
            </a:extLst>
          </p:cNvPr>
          <p:cNvGrpSpPr>
            <a:grpSpLocks noChangeAspect="1"/>
          </p:cNvGrpSpPr>
          <p:nvPr/>
        </p:nvGrpSpPr>
        <p:grpSpPr>
          <a:xfrm>
            <a:off x="1326728" y="9396653"/>
            <a:ext cx="492781" cy="492786"/>
            <a:chOff x="4259465" y="4028218"/>
            <a:chExt cx="206140" cy="206142"/>
          </a:xfrm>
          <a:solidFill>
            <a:schemeClr val="tx1"/>
          </a:solidFill>
        </p:grpSpPr>
        <p:sp>
          <p:nvSpPr>
            <p:cNvPr id="13" name="Freeform 56">
              <a:extLst>
                <a:ext uri="{FF2B5EF4-FFF2-40B4-BE49-F238E27FC236}">
                  <a16:creationId xmlns:a16="http://schemas.microsoft.com/office/drawing/2014/main" id="{324D7C90-1F16-4996-A237-6C5C6A6C2BB4}"/>
                </a:ext>
              </a:extLst>
            </p:cNvPr>
            <p:cNvSpPr>
              <a:spLocks/>
            </p:cNvSpPr>
            <p:nvPr/>
          </p:nvSpPr>
          <p:spPr bwMode="auto">
            <a:xfrm>
              <a:off x="4299363" y="4028218"/>
              <a:ext cx="146293" cy="89772"/>
            </a:xfrm>
            <a:custGeom>
              <a:avLst/>
              <a:gdLst>
                <a:gd name="T0" fmla="*/ 44 w 44"/>
                <a:gd name="T1" fmla="*/ 27 h 27"/>
                <a:gd name="T2" fmla="*/ 42 w 44"/>
                <a:gd name="T3" fmla="*/ 27 h 27"/>
                <a:gd name="T4" fmla="*/ 42 w 44"/>
                <a:gd name="T5" fmla="*/ 3 h 27"/>
                <a:gd name="T6" fmla="*/ 2 w 44"/>
                <a:gd name="T7" fmla="*/ 3 h 27"/>
                <a:gd name="T8" fmla="*/ 2 w 44"/>
                <a:gd name="T9" fmla="*/ 21 h 27"/>
                <a:gd name="T10" fmla="*/ 0 w 44"/>
                <a:gd name="T11" fmla="*/ 21 h 27"/>
                <a:gd name="T12" fmla="*/ 0 w 44"/>
                <a:gd name="T13" fmla="*/ 0 h 27"/>
                <a:gd name="T14" fmla="*/ 44 w 44"/>
                <a:gd name="T15" fmla="*/ 0 h 27"/>
                <a:gd name="T16" fmla="*/ 44 w 44"/>
                <a:gd name="T17" fmla="*/ 27 h 2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</a:cxnLst>
              <a:rect l="0" t="0" r="r" b="b"/>
              <a:pathLst>
                <a:path w="44" h="27">
                  <a:moveTo>
                    <a:pt x="44" y="27"/>
                  </a:moveTo>
                  <a:lnTo>
                    <a:pt x="42" y="27"/>
                  </a:lnTo>
                  <a:lnTo>
                    <a:pt x="42" y="3"/>
                  </a:lnTo>
                  <a:lnTo>
                    <a:pt x="2" y="3"/>
                  </a:lnTo>
                  <a:lnTo>
                    <a:pt x="2" y="21"/>
                  </a:lnTo>
                  <a:lnTo>
                    <a:pt x="0" y="21"/>
                  </a:lnTo>
                  <a:lnTo>
                    <a:pt x="0" y="0"/>
                  </a:lnTo>
                  <a:lnTo>
                    <a:pt x="44" y="0"/>
                  </a:lnTo>
                  <a:lnTo>
                    <a:pt x="44" y="27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"/>
                <a:ea typeface="+mn-ea"/>
                <a:cs typeface="+mn-cs"/>
              </a:endParaRPr>
            </a:p>
          </p:txBody>
        </p:sp>
        <p:sp>
          <p:nvSpPr>
            <p:cNvPr id="14" name="Freeform 57">
              <a:extLst>
                <a:ext uri="{FF2B5EF4-FFF2-40B4-BE49-F238E27FC236}">
                  <a16:creationId xmlns:a16="http://schemas.microsoft.com/office/drawing/2014/main" id="{3C92707F-1CE7-4AF8-895B-16C7315714E9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4259465" y="4064792"/>
              <a:ext cx="206140" cy="169568"/>
            </a:xfrm>
            <a:custGeom>
              <a:avLst/>
              <a:gdLst>
                <a:gd name="T0" fmla="*/ 30 w 62"/>
                <a:gd name="T1" fmla="*/ 20 h 51"/>
                <a:gd name="T2" fmla="*/ 24 w 62"/>
                <a:gd name="T3" fmla="*/ 14 h 51"/>
                <a:gd name="T4" fmla="*/ 6 w 62"/>
                <a:gd name="T5" fmla="*/ 14 h 51"/>
                <a:gd name="T6" fmla="*/ 3 w 62"/>
                <a:gd name="T7" fmla="*/ 36 h 51"/>
                <a:gd name="T8" fmla="*/ 3 w 62"/>
                <a:gd name="T9" fmla="*/ 3 h 51"/>
                <a:gd name="T10" fmla="*/ 7 w 62"/>
                <a:gd name="T11" fmla="*/ 3 h 51"/>
                <a:gd name="T12" fmla="*/ 7 w 62"/>
                <a:gd name="T13" fmla="*/ 0 h 51"/>
                <a:gd name="T14" fmla="*/ 0 w 62"/>
                <a:gd name="T15" fmla="*/ 0 h 51"/>
                <a:gd name="T16" fmla="*/ 0 w 62"/>
                <a:gd name="T17" fmla="*/ 51 h 51"/>
                <a:gd name="T18" fmla="*/ 0 w 62"/>
                <a:gd name="T19" fmla="*/ 51 h 51"/>
                <a:gd name="T20" fmla="*/ 0 w 62"/>
                <a:gd name="T21" fmla="*/ 51 h 51"/>
                <a:gd name="T22" fmla="*/ 56 w 62"/>
                <a:gd name="T23" fmla="*/ 51 h 51"/>
                <a:gd name="T24" fmla="*/ 62 w 62"/>
                <a:gd name="T25" fmla="*/ 20 h 51"/>
                <a:gd name="T26" fmla="*/ 30 w 62"/>
                <a:gd name="T27" fmla="*/ 20 h 51"/>
                <a:gd name="T28" fmla="*/ 54 w 62"/>
                <a:gd name="T29" fmla="*/ 48 h 51"/>
                <a:gd name="T30" fmla="*/ 4 w 62"/>
                <a:gd name="T31" fmla="*/ 48 h 51"/>
                <a:gd name="T32" fmla="*/ 8 w 62"/>
                <a:gd name="T33" fmla="*/ 17 h 51"/>
                <a:gd name="T34" fmla="*/ 23 w 62"/>
                <a:gd name="T35" fmla="*/ 17 h 51"/>
                <a:gd name="T36" fmla="*/ 29 w 62"/>
                <a:gd name="T37" fmla="*/ 22 h 51"/>
                <a:gd name="T38" fmla="*/ 59 w 62"/>
                <a:gd name="T39" fmla="*/ 22 h 51"/>
                <a:gd name="T40" fmla="*/ 54 w 62"/>
                <a:gd name="T41" fmla="*/ 48 h 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</a:cxnLst>
              <a:rect l="0" t="0" r="r" b="b"/>
              <a:pathLst>
                <a:path w="62" h="51">
                  <a:moveTo>
                    <a:pt x="30" y="20"/>
                  </a:moveTo>
                  <a:lnTo>
                    <a:pt x="24" y="14"/>
                  </a:lnTo>
                  <a:lnTo>
                    <a:pt x="6" y="14"/>
                  </a:lnTo>
                  <a:lnTo>
                    <a:pt x="3" y="36"/>
                  </a:lnTo>
                  <a:lnTo>
                    <a:pt x="3" y="3"/>
                  </a:lnTo>
                  <a:lnTo>
                    <a:pt x="7" y="3"/>
                  </a:lnTo>
                  <a:lnTo>
                    <a:pt x="7" y="0"/>
                  </a:lnTo>
                  <a:lnTo>
                    <a:pt x="0" y="0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0" y="51"/>
                  </a:lnTo>
                  <a:lnTo>
                    <a:pt x="56" y="51"/>
                  </a:lnTo>
                  <a:lnTo>
                    <a:pt x="62" y="20"/>
                  </a:lnTo>
                  <a:lnTo>
                    <a:pt x="30" y="20"/>
                  </a:lnTo>
                  <a:close/>
                  <a:moveTo>
                    <a:pt x="54" y="48"/>
                  </a:moveTo>
                  <a:lnTo>
                    <a:pt x="4" y="48"/>
                  </a:lnTo>
                  <a:lnTo>
                    <a:pt x="8" y="17"/>
                  </a:lnTo>
                  <a:lnTo>
                    <a:pt x="23" y="17"/>
                  </a:lnTo>
                  <a:lnTo>
                    <a:pt x="29" y="22"/>
                  </a:lnTo>
                  <a:lnTo>
                    <a:pt x="59" y="22"/>
                  </a:lnTo>
                  <a:lnTo>
                    <a:pt x="54" y="48"/>
                  </a:lnTo>
                  <a:close/>
                </a:path>
              </a:pathLst>
            </a:custGeom>
            <a:grpFill/>
            <a:ln w="9525">
              <a:solidFill>
                <a:srgbClr val="000000"/>
              </a:solidFill>
              <a:round/>
              <a:headEnd/>
              <a:tailEnd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"/>
                <a:ea typeface="+mn-ea"/>
                <a:cs typeface="+mn-cs"/>
              </a:endParaRPr>
            </a:p>
          </p:txBody>
        </p:sp>
        <p:sp>
          <p:nvSpPr>
            <p:cNvPr id="15" name="Rectangle 58">
              <a:extLst>
                <a:ext uri="{FF2B5EF4-FFF2-40B4-BE49-F238E27FC236}">
                  <a16:creationId xmlns:a16="http://schemas.microsoft.com/office/drawing/2014/main" id="{5055431D-91AA-4E5E-AE48-A4760651463E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32611" y="4064792"/>
              <a:ext cx="79796" cy="9976"/>
            </a:xfrm>
            <a:prstGeom prst="rect">
              <a:avLst/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"/>
                <a:ea typeface="+mn-ea"/>
                <a:cs typeface="+mn-cs"/>
              </a:endParaRPr>
            </a:p>
          </p:txBody>
        </p:sp>
        <p:sp>
          <p:nvSpPr>
            <p:cNvPr id="16" name="Rectangle 59">
              <a:extLst>
                <a:ext uri="{FF2B5EF4-FFF2-40B4-BE49-F238E27FC236}">
                  <a16:creationId xmlns:a16="http://schemas.microsoft.com/office/drawing/2014/main" id="{2A95FD71-3AF2-4766-AB60-BDAC96DEDC6B}"/>
                </a:ext>
              </a:extLst>
            </p:cNvPr>
            <p:cNvSpPr>
              <a:spLocks noChangeArrowheads="1"/>
            </p:cNvSpPr>
            <p:nvPr/>
          </p:nvSpPr>
          <p:spPr bwMode="auto">
            <a:xfrm>
              <a:off x="4369186" y="4098041"/>
              <a:ext cx="43222" cy="9976"/>
            </a:xfrm>
            <a:prstGeom prst="rect">
              <a:avLst/>
            </a:prstGeom>
            <a:grpFill/>
            <a:ln w="9525">
              <a:solidFill>
                <a:srgbClr val="000000"/>
              </a:solidFill>
              <a:miter lim="800000"/>
              <a:headEnd/>
              <a:tailEnd/>
            </a:ln>
          </p:spPr>
          <p:txBody>
            <a:bodyPr vert="horz" wrap="square" lIns="114300" tIns="57150" rIns="114300" bIns="5715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1430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60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 "/>
                <a:ea typeface="+mn-ea"/>
                <a:cs typeface="+mn-cs"/>
              </a:endParaRPr>
            </a:p>
          </p:txBody>
        </p:sp>
      </p:grpSp>
      <p:sp>
        <p:nvSpPr>
          <p:cNvPr id="17" name="Freeform 79">
            <a:extLst>
              <a:ext uri="{FF2B5EF4-FFF2-40B4-BE49-F238E27FC236}">
                <a16:creationId xmlns:a16="http://schemas.microsoft.com/office/drawing/2014/main" id="{0A8D0EC6-267C-4C9D-ACA7-00433AF4D089}"/>
              </a:ext>
            </a:extLst>
          </p:cNvPr>
          <p:cNvSpPr>
            <a:spLocks noEditPoints="1"/>
          </p:cNvSpPr>
          <p:nvPr/>
        </p:nvSpPr>
        <p:spPr bwMode="auto">
          <a:xfrm>
            <a:off x="1345067" y="10722648"/>
            <a:ext cx="460888" cy="503854"/>
          </a:xfrm>
          <a:custGeom>
            <a:avLst/>
            <a:gdLst>
              <a:gd name="T0" fmla="*/ 155 w 155"/>
              <a:gd name="T1" fmla="*/ 0 h 154"/>
              <a:gd name="T2" fmla="*/ 155 w 155"/>
              <a:gd name="T3" fmla="*/ 50 h 154"/>
              <a:gd name="T4" fmla="*/ 148 w 155"/>
              <a:gd name="T5" fmla="*/ 50 h 154"/>
              <a:gd name="T6" fmla="*/ 148 w 155"/>
              <a:gd name="T7" fmla="*/ 7 h 154"/>
              <a:gd name="T8" fmla="*/ 7 w 155"/>
              <a:gd name="T9" fmla="*/ 7 h 154"/>
              <a:gd name="T10" fmla="*/ 7 w 155"/>
              <a:gd name="T11" fmla="*/ 121 h 154"/>
              <a:gd name="T12" fmla="*/ 28 w 155"/>
              <a:gd name="T13" fmla="*/ 121 h 154"/>
              <a:gd name="T14" fmla="*/ 28 w 155"/>
              <a:gd name="T15" fmla="*/ 139 h 154"/>
              <a:gd name="T16" fmla="*/ 46 w 155"/>
              <a:gd name="T17" fmla="*/ 121 h 154"/>
              <a:gd name="T18" fmla="*/ 56 w 155"/>
              <a:gd name="T19" fmla="*/ 121 h 154"/>
              <a:gd name="T20" fmla="*/ 56 w 155"/>
              <a:gd name="T21" fmla="*/ 127 h 154"/>
              <a:gd name="T22" fmla="*/ 49 w 155"/>
              <a:gd name="T23" fmla="*/ 127 h 154"/>
              <a:gd name="T24" fmla="*/ 21 w 155"/>
              <a:gd name="T25" fmla="*/ 154 h 154"/>
              <a:gd name="T26" fmla="*/ 21 w 155"/>
              <a:gd name="T27" fmla="*/ 127 h 154"/>
              <a:gd name="T28" fmla="*/ 0 w 155"/>
              <a:gd name="T29" fmla="*/ 127 h 154"/>
              <a:gd name="T30" fmla="*/ 0 w 155"/>
              <a:gd name="T31" fmla="*/ 0 h 154"/>
              <a:gd name="T32" fmla="*/ 155 w 155"/>
              <a:gd name="T33" fmla="*/ 0 h 154"/>
              <a:gd name="T34" fmla="*/ 126 w 155"/>
              <a:gd name="T35" fmla="*/ 33 h 154"/>
              <a:gd name="T36" fmla="*/ 29 w 155"/>
              <a:gd name="T37" fmla="*/ 33 h 154"/>
              <a:gd name="T38" fmla="*/ 29 w 155"/>
              <a:gd name="T39" fmla="*/ 39 h 154"/>
              <a:gd name="T40" fmla="*/ 126 w 155"/>
              <a:gd name="T41" fmla="*/ 39 h 154"/>
              <a:gd name="T42" fmla="*/ 126 w 155"/>
              <a:gd name="T43" fmla="*/ 33 h 154"/>
              <a:gd name="T44" fmla="*/ 29 w 155"/>
              <a:gd name="T45" fmla="*/ 67 h 154"/>
              <a:gd name="T46" fmla="*/ 56 w 155"/>
              <a:gd name="T47" fmla="*/ 67 h 154"/>
              <a:gd name="T48" fmla="*/ 56 w 155"/>
              <a:gd name="T49" fmla="*/ 60 h 154"/>
              <a:gd name="T50" fmla="*/ 29 w 155"/>
              <a:gd name="T51" fmla="*/ 60 h 154"/>
              <a:gd name="T52" fmla="*/ 29 w 155"/>
              <a:gd name="T53" fmla="*/ 67 h 154"/>
              <a:gd name="T54" fmla="*/ 29 w 155"/>
              <a:gd name="T55" fmla="*/ 95 h 154"/>
              <a:gd name="T56" fmla="*/ 56 w 155"/>
              <a:gd name="T57" fmla="*/ 95 h 154"/>
              <a:gd name="T58" fmla="*/ 56 w 155"/>
              <a:gd name="T59" fmla="*/ 89 h 154"/>
              <a:gd name="T60" fmla="*/ 29 w 155"/>
              <a:gd name="T61" fmla="*/ 89 h 154"/>
              <a:gd name="T62" fmla="*/ 29 w 155"/>
              <a:gd name="T63" fmla="*/ 95 h 154"/>
              <a:gd name="T64" fmla="*/ 130 w 155"/>
              <a:gd name="T65" fmla="*/ 89 h 154"/>
              <a:gd name="T66" fmla="*/ 94 w 155"/>
              <a:gd name="T67" fmla="*/ 89 h 154"/>
              <a:gd name="T68" fmla="*/ 94 w 155"/>
              <a:gd name="T69" fmla="*/ 95 h 154"/>
              <a:gd name="T70" fmla="*/ 130 w 155"/>
              <a:gd name="T71" fmla="*/ 95 h 154"/>
              <a:gd name="T72" fmla="*/ 130 w 155"/>
              <a:gd name="T73" fmla="*/ 89 h 154"/>
              <a:gd name="T74" fmla="*/ 71 w 155"/>
              <a:gd name="T75" fmla="*/ 60 h 154"/>
              <a:gd name="T76" fmla="*/ 155 w 155"/>
              <a:gd name="T77" fmla="*/ 60 h 154"/>
              <a:gd name="T78" fmla="*/ 155 w 155"/>
              <a:gd name="T79" fmla="*/ 127 h 154"/>
              <a:gd name="T80" fmla="*/ 135 w 155"/>
              <a:gd name="T81" fmla="*/ 127 h 154"/>
              <a:gd name="T82" fmla="*/ 135 w 155"/>
              <a:gd name="T83" fmla="*/ 154 h 154"/>
              <a:gd name="T84" fmla="*/ 107 w 155"/>
              <a:gd name="T85" fmla="*/ 127 h 154"/>
              <a:gd name="T86" fmla="*/ 71 w 155"/>
              <a:gd name="T87" fmla="*/ 127 h 154"/>
              <a:gd name="T88" fmla="*/ 71 w 155"/>
              <a:gd name="T89" fmla="*/ 60 h 154"/>
              <a:gd name="T90" fmla="*/ 77 w 155"/>
              <a:gd name="T91" fmla="*/ 121 h 154"/>
              <a:gd name="T92" fmla="*/ 110 w 155"/>
              <a:gd name="T93" fmla="*/ 121 h 154"/>
              <a:gd name="T94" fmla="*/ 128 w 155"/>
              <a:gd name="T95" fmla="*/ 139 h 154"/>
              <a:gd name="T96" fmla="*/ 128 w 155"/>
              <a:gd name="T97" fmla="*/ 121 h 154"/>
              <a:gd name="T98" fmla="*/ 148 w 155"/>
              <a:gd name="T99" fmla="*/ 121 h 154"/>
              <a:gd name="T100" fmla="*/ 148 w 155"/>
              <a:gd name="T101" fmla="*/ 67 h 154"/>
              <a:gd name="T102" fmla="*/ 77 w 155"/>
              <a:gd name="T103" fmla="*/ 67 h 154"/>
              <a:gd name="T104" fmla="*/ 77 w 155"/>
              <a:gd name="T105" fmla="*/ 121 h 154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  <a:cxn ang="0">
                <a:pos x="T86" y="T87"/>
              </a:cxn>
              <a:cxn ang="0">
                <a:pos x="T88" y="T89"/>
              </a:cxn>
              <a:cxn ang="0">
                <a:pos x="T90" y="T91"/>
              </a:cxn>
              <a:cxn ang="0">
                <a:pos x="T92" y="T93"/>
              </a:cxn>
              <a:cxn ang="0">
                <a:pos x="T94" y="T95"/>
              </a:cxn>
              <a:cxn ang="0">
                <a:pos x="T96" y="T97"/>
              </a:cxn>
              <a:cxn ang="0">
                <a:pos x="T98" y="T99"/>
              </a:cxn>
              <a:cxn ang="0">
                <a:pos x="T100" y="T101"/>
              </a:cxn>
              <a:cxn ang="0">
                <a:pos x="T102" y="T103"/>
              </a:cxn>
              <a:cxn ang="0">
                <a:pos x="T104" y="T105"/>
              </a:cxn>
            </a:cxnLst>
            <a:rect l="0" t="0" r="r" b="b"/>
            <a:pathLst>
              <a:path w="155" h="154">
                <a:moveTo>
                  <a:pt x="155" y="0"/>
                </a:moveTo>
                <a:lnTo>
                  <a:pt x="155" y="50"/>
                </a:lnTo>
                <a:lnTo>
                  <a:pt x="148" y="50"/>
                </a:lnTo>
                <a:lnTo>
                  <a:pt x="148" y="7"/>
                </a:lnTo>
                <a:lnTo>
                  <a:pt x="7" y="7"/>
                </a:lnTo>
                <a:lnTo>
                  <a:pt x="7" y="121"/>
                </a:lnTo>
                <a:lnTo>
                  <a:pt x="28" y="121"/>
                </a:lnTo>
                <a:lnTo>
                  <a:pt x="28" y="139"/>
                </a:lnTo>
                <a:lnTo>
                  <a:pt x="46" y="121"/>
                </a:lnTo>
                <a:lnTo>
                  <a:pt x="56" y="121"/>
                </a:lnTo>
                <a:lnTo>
                  <a:pt x="56" y="127"/>
                </a:lnTo>
                <a:lnTo>
                  <a:pt x="49" y="127"/>
                </a:lnTo>
                <a:lnTo>
                  <a:pt x="21" y="154"/>
                </a:lnTo>
                <a:lnTo>
                  <a:pt x="21" y="127"/>
                </a:lnTo>
                <a:lnTo>
                  <a:pt x="0" y="127"/>
                </a:lnTo>
                <a:lnTo>
                  <a:pt x="0" y="0"/>
                </a:lnTo>
                <a:lnTo>
                  <a:pt x="155" y="0"/>
                </a:lnTo>
                <a:close/>
                <a:moveTo>
                  <a:pt x="126" y="33"/>
                </a:moveTo>
                <a:lnTo>
                  <a:pt x="29" y="33"/>
                </a:lnTo>
                <a:lnTo>
                  <a:pt x="29" y="39"/>
                </a:lnTo>
                <a:lnTo>
                  <a:pt x="126" y="39"/>
                </a:lnTo>
                <a:lnTo>
                  <a:pt x="126" y="33"/>
                </a:lnTo>
                <a:close/>
                <a:moveTo>
                  <a:pt x="29" y="67"/>
                </a:moveTo>
                <a:lnTo>
                  <a:pt x="56" y="67"/>
                </a:lnTo>
                <a:lnTo>
                  <a:pt x="56" y="60"/>
                </a:lnTo>
                <a:lnTo>
                  <a:pt x="29" y="60"/>
                </a:lnTo>
                <a:lnTo>
                  <a:pt x="29" y="67"/>
                </a:lnTo>
                <a:close/>
                <a:moveTo>
                  <a:pt x="29" y="95"/>
                </a:moveTo>
                <a:lnTo>
                  <a:pt x="56" y="95"/>
                </a:lnTo>
                <a:lnTo>
                  <a:pt x="56" y="89"/>
                </a:lnTo>
                <a:lnTo>
                  <a:pt x="29" y="89"/>
                </a:lnTo>
                <a:lnTo>
                  <a:pt x="29" y="95"/>
                </a:lnTo>
                <a:close/>
                <a:moveTo>
                  <a:pt x="130" y="89"/>
                </a:moveTo>
                <a:lnTo>
                  <a:pt x="94" y="89"/>
                </a:lnTo>
                <a:lnTo>
                  <a:pt x="94" y="95"/>
                </a:lnTo>
                <a:lnTo>
                  <a:pt x="130" y="95"/>
                </a:lnTo>
                <a:lnTo>
                  <a:pt x="130" y="89"/>
                </a:lnTo>
                <a:close/>
                <a:moveTo>
                  <a:pt x="71" y="60"/>
                </a:moveTo>
                <a:lnTo>
                  <a:pt x="155" y="60"/>
                </a:lnTo>
                <a:lnTo>
                  <a:pt x="155" y="127"/>
                </a:lnTo>
                <a:lnTo>
                  <a:pt x="135" y="127"/>
                </a:lnTo>
                <a:lnTo>
                  <a:pt x="135" y="154"/>
                </a:lnTo>
                <a:lnTo>
                  <a:pt x="107" y="127"/>
                </a:lnTo>
                <a:lnTo>
                  <a:pt x="71" y="127"/>
                </a:lnTo>
                <a:lnTo>
                  <a:pt x="71" y="60"/>
                </a:lnTo>
                <a:close/>
                <a:moveTo>
                  <a:pt x="77" y="121"/>
                </a:moveTo>
                <a:lnTo>
                  <a:pt x="110" y="121"/>
                </a:lnTo>
                <a:lnTo>
                  <a:pt x="128" y="139"/>
                </a:lnTo>
                <a:lnTo>
                  <a:pt x="128" y="121"/>
                </a:lnTo>
                <a:lnTo>
                  <a:pt x="148" y="121"/>
                </a:lnTo>
                <a:lnTo>
                  <a:pt x="148" y="67"/>
                </a:lnTo>
                <a:lnTo>
                  <a:pt x="77" y="67"/>
                </a:lnTo>
                <a:lnTo>
                  <a:pt x="77" y="121"/>
                </a:lnTo>
                <a:close/>
              </a:path>
            </a:pathLst>
          </a:custGeom>
          <a:solidFill>
            <a:schemeClr val="tx1"/>
          </a:solidFill>
          <a:ln w="12700">
            <a:noFill/>
          </a:ln>
        </p:spPr>
        <p:txBody>
          <a:bodyPr vert="horz" wrap="square" lIns="114300" tIns="57150" rIns="114300" bIns="57150" numCol="1" anchor="t" anchorCtr="0" compatLnSpc="1">
            <a:prstTxWarp prst="textNoShape">
              <a:avLst/>
            </a:prstTxWarp>
          </a:bodyPr>
          <a:lstStyle/>
          <a:p>
            <a:pPr marL="0" marR="0" lvl="0" indent="0" algn="l" defTabSz="11430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4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 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93587585"/>
      </p:ext>
    </p:extLst>
  </p:cSld>
  <p:clrMapOvr>
    <a:masterClrMapping/>
  </p:clrMapOvr>
  <p:transition spd="med"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Στόχοι Πολιτικής για το ΕΣΠΑ 2021 - 2027</a:t>
            </a:r>
          </a:p>
        </p:txBody>
      </p:sp>
      <p:pic>
        <p:nvPicPr>
          <p:cNvPr id="6" name="Εικόνα 5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28926" y="2311289"/>
            <a:ext cx="3560246" cy="3568376"/>
          </a:xfrm>
          <a:prstGeom prst="rect">
            <a:avLst/>
          </a:prstGeom>
        </p:spPr>
      </p:pic>
      <p:pic>
        <p:nvPicPr>
          <p:cNvPr id="7" name="Εικόνα 6"/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81995" y="5447934"/>
            <a:ext cx="3631584" cy="3631584"/>
          </a:xfrm>
          <a:prstGeom prst="rect">
            <a:avLst/>
          </a:prstGeom>
        </p:spPr>
      </p:pic>
      <p:pic>
        <p:nvPicPr>
          <p:cNvPr id="8" name="Εικόνα 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089970" y="2292584"/>
            <a:ext cx="3317450" cy="3317450"/>
          </a:xfrm>
          <a:prstGeom prst="rect">
            <a:avLst/>
          </a:prstGeom>
        </p:spPr>
      </p:pic>
      <p:pic>
        <p:nvPicPr>
          <p:cNvPr id="9" name="Εικόνα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5801588" y="5394243"/>
            <a:ext cx="3679395" cy="3687796"/>
          </a:xfrm>
          <a:prstGeom prst="rect">
            <a:avLst/>
          </a:prstGeom>
        </p:spPr>
      </p:pic>
      <p:pic>
        <p:nvPicPr>
          <p:cNvPr id="16" name="Θέση περιεχομένου 4">
            <a:extLst>
              <a:ext uri="{FF2B5EF4-FFF2-40B4-BE49-F238E27FC236}">
                <a16:creationId xmlns:a16="http://schemas.microsoft.com/office/drawing/2014/main" id="{064F4CFC-6069-EBE5-41E6-8716BD36A18E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97483" y="2292584"/>
            <a:ext cx="3683018" cy="3683018"/>
          </a:xfrm>
          <a:prstGeom prst="rect">
            <a:avLst/>
          </a:prstGeom>
        </p:spPr>
      </p:pic>
      <p:sp>
        <p:nvSpPr>
          <p:cNvPr id="17" name="TextBox 16">
            <a:extLst>
              <a:ext uri="{FF2B5EF4-FFF2-40B4-BE49-F238E27FC236}">
                <a16:creationId xmlns:a16="http://schemas.microsoft.com/office/drawing/2014/main" id="{910FA90D-31E8-A49E-2A68-726261E1A227}"/>
              </a:ext>
            </a:extLst>
          </p:cNvPr>
          <p:cNvSpPr txBox="1"/>
          <p:nvPr/>
        </p:nvSpPr>
        <p:spPr>
          <a:xfrm>
            <a:off x="397483" y="6585149"/>
            <a:ext cx="4846931" cy="1980029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Προώθηση καινοτόμου και έξυπνου οικονομικού μετασχηματισμού</a:t>
            </a:r>
            <a:endParaRPr lang="el-GR" sz="2800" kern="1200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l-GR" sz="2800" b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</a:t>
            </a: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% των συνολικών</a:t>
            </a:r>
            <a:r>
              <a:rPr lang="el-GR" sz="2800" b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πόρων</a:t>
            </a:r>
            <a:endParaRPr kumimoji="0" lang="el-GR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E62487C3-2F2B-68C5-5474-63CFA398826D}"/>
              </a:ext>
            </a:extLst>
          </p:cNvPr>
          <p:cNvSpPr txBox="1"/>
          <p:nvPr/>
        </p:nvSpPr>
        <p:spPr>
          <a:xfrm>
            <a:off x="10166896" y="6150256"/>
            <a:ext cx="4846931" cy="24109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προσβάσιμες</a:t>
            </a:r>
            <a:r>
              <a:rPr kumimoji="0" lang="el-GR" sz="2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υψηλής ποιότητας, </a:t>
            </a:r>
            <a:r>
              <a:rPr kumimoji="0" lang="el-GR" sz="2800" i="0" u="none" strike="noStrike" kern="1200" cap="none" spc="0" normalizeH="0" baseline="0" noProof="0" dirty="0" err="1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πολυτροπικές</a:t>
            </a:r>
            <a:r>
              <a:rPr kumimoji="0" lang="el-GR" sz="2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, έξυπνες / βιώσιμες υποδομές  και συστήματα μεταφορών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8% των συνολικών πόρων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8EF7E0DE-B310-0E1B-380F-699694CAA5A6}"/>
              </a:ext>
            </a:extLst>
          </p:cNvPr>
          <p:cNvSpPr txBox="1"/>
          <p:nvPr/>
        </p:nvSpPr>
        <p:spPr>
          <a:xfrm>
            <a:off x="5092595" y="2898518"/>
            <a:ext cx="4846931" cy="24109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120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Προώθησης καθαρής και δίκαιης ενεργειακής μετάβασης, των πράσινων και γαλάζιων επενδύσεων</a:t>
            </a:r>
          </a:p>
          <a:p>
            <a:pPr marL="0" marR="0" lvl="0" indent="0" algn="l" defTabSz="914400" rtl="0" eaLnBrk="1" fontAlgn="auto" latinLnBrk="0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l-GR" sz="2800" b="1" i="0" u="none" strike="noStrike" kern="1200" cap="none" spc="0" normalizeH="0" baseline="0" noProof="0" dirty="0">
                <a:ln>
                  <a:noFill/>
                </a:ln>
                <a:solidFill>
                  <a:schemeClr val="tx1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rPr>
              <a:t>27% των συνολικών πόρων</a:t>
            </a:r>
          </a:p>
        </p:txBody>
      </p:sp>
      <p:sp>
        <p:nvSpPr>
          <p:cNvPr id="20" name="TextBox 19">
            <a:extLst>
              <a:ext uri="{FF2B5EF4-FFF2-40B4-BE49-F238E27FC236}">
                <a16:creationId xmlns:a16="http://schemas.microsoft.com/office/drawing/2014/main" id="{1433F9E7-FFDC-5736-E7F9-2E2BA3D8F6C8}"/>
              </a:ext>
            </a:extLst>
          </p:cNvPr>
          <p:cNvSpPr txBox="1"/>
          <p:nvPr/>
        </p:nvSpPr>
        <p:spPr>
          <a:xfrm>
            <a:off x="14704910" y="2449789"/>
            <a:ext cx="4846931" cy="2841804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>
              <a:spcAft>
                <a:spcPts val="1200"/>
              </a:spcAft>
              <a:buClrTx/>
              <a:defRPr/>
            </a:pPr>
            <a:r>
              <a:rPr lang="el-GR" sz="28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Επένδυση σε ανθρώπινο δυναμικό και διασφάλιση ισότιμης πρόσβασης σε ποιοτικές υπηρεσίες και αγαθά</a:t>
            </a:r>
          </a:p>
          <a:p>
            <a:pPr lvl="0">
              <a:buClrTx/>
              <a:defRPr/>
            </a:pPr>
            <a:r>
              <a:rPr lang="el-GR" sz="2800" b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% των συνολικών πόρων</a:t>
            </a:r>
            <a:endParaRPr kumimoji="0" lang="el-GR" sz="2800" b="1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B155F7F4-EA25-B0E8-A3E1-1D561E8F224B}"/>
              </a:ext>
            </a:extLst>
          </p:cNvPr>
          <p:cNvSpPr txBox="1"/>
          <p:nvPr/>
        </p:nvSpPr>
        <p:spPr>
          <a:xfrm>
            <a:off x="19325230" y="6431261"/>
            <a:ext cx="4846931" cy="2410916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rot="0" spcFirstLastPara="1" vertOverflow="overflow" horzOverflow="overflow" vert="horz" wrap="square" lIns="50800" tIns="50800" rIns="50800" bIns="50800" numCol="1" spcCol="38100" rtlCol="0" anchor="ctr">
            <a:spAutoFit/>
          </a:bodyPr>
          <a:lstStyle/>
          <a:p>
            <a:pPr lvl="0">
              <a:spcAft>
                <a:spcPts val="1200"/>
              </a:spcAft>
              <a:buClrTx/>
              <a:defRPr/>
            </a:pPr>
            <a:r>
              <a:rPr lang="el-GR" sz="2800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Προώθηση βιώσιμης και ολοκληρωμένης ανάπτυξης, μέσω της στήριξης τοπικών πρωτοβουλιών</a:t>
            </a:r>
          </a:p>
          <a:p>
            <a:pPr lvl="0">
              <a:buClrTx/>
              <a:defRPr/>
            </a:pPr>
            <a:r>
              <a:rPr lang="el-GR" sz="2800" b="1" kern="1200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% των συνολικών πόρων</a:t>
            </a:r>
          </a:p>
        </p:txBody>
      </p:sp>
      <p:sp>
        <p:nvSpPr>
          <p:cNvPr id="30" name="TextBox 29">
            <a:extLst>
              <a:ext uri="{FF2B5EF4-FFF2-40B4-BE49-F238E27FC236}">
                <a16:creationId xmlns:a16="http://schemas.microsoft.com/office/drawing/2014/main" id="{49F6643F-A79A-C2B9-65A8-5DBD86542BE4}"/>
              </a:ext>
            </a:extLst>
          </p:cNvPr>
          <p:cNvSpPr txBox="1"/>
          <p:nvPr/>
        </p:nvSpPr>
        <p:spPr>
          <a:xfrm>
            <a:off x="8202033" y="8991219"/>
            <a:ext cx="3588419" cy="2400657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>
              <a:spcAft>
                <a:spcPts val="1200"/>
              </a:spcAft>
            </a:pPr>
            <a:r>
              <a:rPr lang="el-GR" sz="2800" dirty="0">
                <a:latin typeface="Arial" panose="020B0604020202020204" pitchFamily="34" charset="0"/>
                <a:cs typeface="Arial" panose="020B0604020202020204" pitchFamily="34" charset="0"/>
              </a:rPr>
              <a:t>απεξάρτηση από το λιγνίτη στις </a:t>
            </a:r>
            <a:r>
              <a:rPr lang="el-GR" sz="2800" dirty="0" err="1">
                <a:latin typeface="Arial" panose="020B0604020202020204" pitchFamily="34" charset="0"/>
                <a:cs typeface="Arial" panose="020B0604020202020204" pitchFamily="34" charset="0"/>
              </a:rPr>
              <a:t>λιγνιτικές</a:t>
            </a:r>
            <a:r>
              <a:rPr lang="el-GR" sz="2800" dirty="0">
                <a:latin typeface="Arial" panose="020B0604020202020204" pitchFamily="34" charset="0"/>
                <a:cs typeface="Arial" panose="020B0604020202020204" pitchFamily="34" charset="0"/>
              </a:rPr>
              <a:t> περιοχές και τα νησιά</a:t>
            </a:r>
          </a:p>
          <a:p>
            <a:r>
              <a:rPr lang="el-GR" sz="2800" b="1" dirty="0">
                <a:latin typeface="Arial" panose="020B0604020202020204" pitchFamily="34" charset="0"/>
                <a:cs typeface="Arial" panose="020B0604020202020204" pitchFamily="34" charset="0"/>
              </a:rPr>
              <a:t>7% των συνολικών πόρων</a:t>
            </a:r>
          </a:p>
        </p:txBody>
      </p:sp>
      <p:pic>
        <p:nvPicPr>
          <p:cNvPr id="3" name="Εικόνα 2"/>
          <p:cNvPicPr>
            <a:picLocks noChangeAspect="1"/>
          </p:cNvPicPr>
          <p:nvPr/>
        </p:nvPicPr>
        <p:blipFill>
          <a:blip r:embed="rId8"/>
          <a:stretch>
            <a:fillRect/>
          </a:stretch>
        </p:blipFill>
        <p:spPr>
          <a:xfrm>
            <a:off x="12448156" y="8561172"/>
            <a:ext cx="3583069" cy="358306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348160"/>
      </p:ext>
    </p:extLst>
  </p:cSld>
  <p:clrMapOvr>
    <a:masterClrMapping/>
  </p:clrMapOvr>
  <p:transition spd="med"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Τίτλος 1">
            <a:extLst>
              <a:ext uri="{FF2B5EF4-FFF2-40B4-BE49-F238E27FC236}">
                <a16:creationId xmlns:a16="http://schemas.microsoft.com/office/drawing/2014/main" id="{087FDB06-0A52-504F-9F48-A4C3325721B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ρογράμματα ΕΣΠΑ 2021 - 2027</a:t>
            </a:r>
          </a:p>
        </p:txBody>
      </p:sp>
    </p:spTree>
    <p:extLst>
      <p:ext uri="{BB962C8B-B14F-4D97-AF65-F5344CB8AC3E}">
        <p14:creationId xmlns:p14="http://schemas.microsoft.com/office/powerpoint/2010/main" val="1918824691"/>
      </p:ext>
    </p:extLst>
  </p:cSld>
  <p:clrMapOvr>
    <a:masterClrMapping/>
  </p:clrMapOvr>
  <p:transition spd="med"/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A20D332-4F1C-E306-17D2-54C0AEB30DFC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Τα Προγράμματα του ΕΣΠΑ, ποσά σε εκατ. €</a:t>
            </a:r>
            <a:endParaRPr lang="en-US" dirty="0"/>
          </a:p>
        </p:txBody>
      </p:sp>
      <p:graphicFrame>
        <p:nvGraphicFramePr>
          <p:cNvPr id="12" name="Content Placeholder 11">
            <a:extLst>
              <a:ext uri="{FF2B5EF4-FFF2-40B4-BE49-F238E27FC236}">
                <a16:creationId xmlns:a16="http://schemas.microsoft.com/office/drawing/2014/main" id="{E3F12260-C421-9B63-72CD-18566F02027C}"/>
              </a:ext>
            </a:extLst>
          </p:cNvPr>
          <p:cNvGraphicFramePr>
            <a:graphicFrameLocks noGrp="1"/>
          </p:cNvGraphicFramePr>
          <p:nvPr>
            <p:ph sz="half" idx="15"/>
            <p:extLst>
              <p:ext uri="{D42A27DB-BD31-4B8C-83A1-F6EECF244321}">
                <p14:modId xmlns:p14="http://schemas.microsoft.com/office/powerpoint/2010/main" val="3181315078"/>
              </p:ext>
            </p:extLst>
          </p:nvPr>
        </p:nvGraphicFramePr>
        <p:xfrm>
          <a:off x="781539" y="2228850"/>
          <a:ext cx="21902615" cy="9292495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</p:spTree>
    <p:extLst>
      <p:ext uri="{BB962C8B-B14F-4D97-AF65-F5344CB8AC3E}">
        <p14:creationId xmlns:p14="http://schemas.microsoft.com/office/powerpoint/2010/main" val="4263678557"/>
      </p:ext>
    </p:extLst>
  </p:cSld>
  <p:clrMapOvr>
    <a:masterClrMapping/>
  </p:clrMapOvr>
  <p:transition spd="med"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A9169AC-343A-D2D8-224F-19DD0101F29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l-GR" dirty="0"/>
              <a:t>Πρόγραμμα «Ανταγωνιστικότητα», π/υ 3.885 εκατ. €</a:t>
            </a:r>
            <a:endParaRPr lang="en-US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C43C846E-49B6-941A-624D-016194FBE097}"/>
              </a:ext>
            </a:extLst>
          </p:cNvPr>
          <p:cNvSpPr txBox="1"/>
          <p:nvPr/>
        </p:nvSpPr>
        <p:spPr>
          <a:xfrm>
            <a:off x="19154274" y="2470224"/>
            <a:ext cx="4776537" cy="3029612"/>
          </a:xfrm>
          <a:prstGeom prst="rect">
            <a:avLst/>
          </a:prstGeom>
          <a:noFill/>
          <a:ln w="12700" cap="flat">
            <a:noFill/>
            <a:miter lim="400000"/>
          </a:ln>
          <a:effectLst/>
          <a:sp3d/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none"/>
        </p:style>
        <p:txBody>
          <a:bodyPr wrap="square">
            <a:spAutoFit/>
          </a:bodyPr>
          <a:lstStyle/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"Ερευνώ - Δημιουργώ - Καινοτομώ" 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 err="1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Equifund</a:t>
            </a: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 </a:t>
            </a:r>
          </a:p>
          <a:p>
            <a:pPr marL="342900" marR="0" lvl="0" indent="-342900" algn="l">
              <a:lnSpc>
                <a:spcPct val="115000"/>
              </a:lnSpc>
              <a:spcBef>
                <a:spcPts val="600"/>
              </a:spcBef>
              <a:spcAft>
                <a:spcPts val="0"/>
              </a:spcAft>
              <a:buFont typeface="Symbol" panose="05050102010706020507" pitchFamily="18" charset="2"/>
              <a:buBlip>
                <a:blip r:embed="rId3"/>
              </a:buBlip>
            </a:pPr>
            <a:r>
              <a:rPr lang="el-GR" sz="3200" dirty="0">
                <a:solidFill>
                  <a:srgbClr val="1F3864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Arial" panose="020B0604020202020204" pitchFamily="34" charset="0"/>
              </a:rPr>
              <a:t>Πράσινο Ταμείο για την Αειφόρο Ανάπτυξη</a:t>
            </a:r>
            <a:endParaRPr lang="en-US" sz="3200" dirty="0">
              <a:solidFill>
                <a:srgbClr val="1F3864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5" name="Chart 4">
            <a:extLst>
              <a:ext uri="{FF2B5EF4-FFF2-40B4-BE49-F238E27FC236}">
                <a16:creationId xmlns:a16="http://schemas.microsoft.com/office/drawing/2014/main" id="{BA3660B9-A294-ECE0-CBB3-7F0AFCFA34A9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31228270"/>
              </p:ext>
            </p:extLst>
          </p:nvPr>
        </p:nvGraphicFramePr>
        <p:xfrm>
          <a:off x="974557" y="2586789"/>
          <a:ext cx="18011275" cy="854242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4"/>
          </a:graphicData>
        </a:graphic>
      </p:graphicFrame>
    </p:spTree>
    <p:extLst>
      <p:ext uri="{BB962C8B-B14F-4D97-AF65-F5344CB8AC3E}">
        <p14:creationId xmlns:p14="http://schemas.microsoft.com/office/powerpoint/2010/main" val="1550192173"/>
      </p:ext>
    </p:extLst>
  </p:cSld>
  <p:clrMapOvr>
    <a:masterClrMapping/>
  </p:clrMapOvr>
  <p:transition spd="med"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OkDafUtXV4cxrB_xkGYSQ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nNdE3ixfUb47WVJ5DBS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snNdE3ixfUb47WVJ5DBSw"/>
</p:tagLst>
</file>

<file path=ppt/theme/_rels/theme1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_rels/theme2.xml.rels><?xml version="1.0" encoding="UTF-8" standalone="yes"?>
<Relationships xmlns="http://schemas.openxmlformats.org/package/2006/relationships"><Relationship Id="rId1" Type="http://schemas.openxmlformats.org/officeDocument/2006/relationships/image" Target="../media/image1.png"/></Relationships>
</file>

<file path=ppt/theme/theme1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2.xml><?xml version="1.0" encoding="utf-8"?>
<a:theme xmlns:a="http://schemas.openxmlformats.org/drawingml/2006/main" name="White">
  <a:themeElements>
    <a:clrScheme name="White">
      <a:dk1>
        <a:srgbClr val="000000"/>
      </a:dk1>
      <a:lt1>
        <a:srgbClr val="FFFFFF"/>
      </a:lt1>
      <a:dk2>
        <a:srgbClr val="53585F"/>
      </a:dk2>
      <a:lt2>
        <a:srgbClr val="DCDEE0"/>
      </a:lt2>
      <a:accent1>
        <a:srgbClr val="0365C0"/>
      </a:accent1>
      <a:accent2>
        <a:srgbClr val="00882B"/>
      </a:accent2>
      <a:accent3>
        <a:srgbClr val="DCBD23"/>
      </a:accent3>
      <a:accent4>
        <a:srgbClr val="DE6A10"/>
      </a:accent4>
      <a:accent5>
        <a:srgbClr val="C82506"/>
      </a:accent5>
      <a:accent6>
        <a:srgbClr val="773F9B"/>
      </a:accent6>
      <a:hlink>
        <a:srgbClr val="0000FF"/>
      </a:hlink>
      <a:folHlink>
        <a:srgbClr val="FF00FF"/>
      </a:folHlink>
    </a:clrScheme>
    <a:fontScheme name="White">
      <a:majorFont>
        <a:latin typeface="Helvetica Light"/>
        <a:ea typeface="Helvetica Light"/>
        <a:cs typeface="Helvetica Light"/>
      </a:majorFont>
      <a:minorFont>
        <a:latin typeface="Helvetica Light"/>
        <a:ea typeface="Helvetica Light"/>
        <a:cs typeface="Helvetica Light"/>
      </a:minorFont>
    </a:fontScheme>
    <a:fmtScheme name="Whit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29999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4999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50800" dist="12700" rotWithShape="0">
              <a:srgbClr val="000000">
                <a:alpha val="50000"/>
              </a:srgbClr>
            </a:outerShdw>
          </a:effectLst>
        </a:effectStyle>
        <a:effectStyle>
          <a:effectLst>
            <a:outerShdw blurRad="38100" dist="25400" dir="5400000" rotWithShape="0">
              <a:srgbClr val="000000">
                <a:alpha val="50000"/>
              </a:srgbClr>
            </a:outerShdw>
          </a:effectLst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blipFill rotWithShape="1">
          <a:blip xmlns:r="http://schemas.openxmlformats.org/officeDocument/2006/relationships" r:embed="rId1"/>
          <a:srcRect/>
          <a:tile tx="0" ty="0" sx="100000" sy="100000" flip="none" algn="tl"/>
        </a:blipFill>
        <a:ln w="12700" cap="flat">
          <a:noFill/>
          <a:miter lim="400000"/>
        </a:ln>
        <a:effectLst>
          <a:outerShdw blurRad="38100" dist="25400" dir="5400000" rotWithShape="0">
            <a:srgbClr val="000000">
              <a:alpha val="50000"/>
            </a:srgbClr>
          </a:outerShdw>
        </a:effectLst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3200" b="0" i="0" u="none" strike="noStrike" cap="none" spc="0" normalizeH="0" baseline="0">
            <a:ln>
              <a:noFill/>
            </a:ln>
            <a:solidFill>
              <a:srgbClr val="FFFFFF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spDef>
    <a:lnDef>
      <a:spPr>
        <a:noFill/>
        <a:ln w="25400" cap="flat">
          <a:solidFill>
            <a:srgbClr val="000000"/>
          </a:solidFill>
          <a:prstDash val="solid"/>
          <a:miter lim="400000"/>
        </a:ln>
        <a:effectLst/>
        <a:sp3d/>
      </a:spPr>
      <a:bodyPr rot="0" spcFirstLastPara="1" vertOverflow="overflow" horzOverflow="overflow" vert="horz" wrap="square" lIns="91439" tIns="45719" rIns="91439" bIns="45719" numCol="1" spcCol="38100" rtlCol="0" anchor="t">
        <a:noAutofit/>
      </a:bodyPr>
      <a:lstStyle>
        <a:def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lnDef>
    <a:txDef>
      <a:spPr>
        <a:noFill/>
        <a:ln w="12700" cap="flat">
          <a:noFill/>
          <a:miter lim="400000"/>
        </a:ln>
        <a:effectLst/>
        <a:sp3d/>
      </a:spPr>
      <a:bodyPr rot="0" spcFirstLastPara="1" vertOverflow="overflow" horzOverflow="overflow" vert="horz" wrap="square" lIns="50800" tIns="50800" rIns="50800" bIns="50800" numCol="1" spcCol="38100" rtlCol="0" anchor="ctr">
        <a:spAutoFit/>
      </a:bodyPr>
      <a:lstStyle>
        <a:defPPr marL="0" marR="0" indent="0" algn="ctr" defTabSz="825500" rtl="0" fontAlgn="auto" latinLnBrk="0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50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  <a:latin typeface="+mn-lt"/>
            <a:ea typeface="+mn-ea"/>
            <a:cs typeface="+mn-cs"/>
            <a:sym typeface="Helvetica Light"/>
          </a:defRPr>
        </a:defPPr>
        <a:lvl1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1pPr>
        <a:lvl2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2pPr>
        <a:lvl3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3pPr>
        <a:lvl4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4pPr>
        <a:lvl5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5pPr>
        <a:lvl6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6pPr>
        <a:lvl7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7pPr>
        <a:lvl8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8pPr>
        <a:lvl9pPr marL="0" marR="0" indent="0" algn="l" defTabSz="914400" rtl="0" fontAlgn="auto" latinLnBrk="1" hangingPunct="0">
          <a:lnSpc>
            <a:spcPct val="100000"/>
          </a:lnSpc>
          <a:spcBef>
            <a:spcPts val="0"/>
          </a:spcBef>
          <a:spcAft>
            <a:spcPts val="0"/>
          </a:spcAft>
          <a:buClrTx/>
          <a:buSzTx/>
          <a:buFontTx/>
          <a:buNone/>
          <a:tabLst/>
          <a:defRPr kumimoji="0" sz="1800" b="0" i="0" u="none" strike="noStrike" cap="none" spc="0" normalizeH="0" baseline="0">
            <a:ln>
              <a:noFill/>
            </a:ln>
            <a:solidFill>
              <a:srgbClr val="000000"/>
            </a:solidFill>
            <a:effectLst/>
            <a:uFillTx/>
          </a:defRPr>
        </a:lvl9pPr>
      </a:lstStyle>
      <a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none"/>
      </a:style>
    </a:txDef>
  </a:objectDefaults>
  <a:extraClrSchemeLst/>
</a:theme>
</file>

<file path=ppt/theme/theme3.xml><?xml version="1.0" encoding="utf-8"?>
<a:theme xmlns:a="http://schemas.openxmlformats.org/drawingml/2006/main" name="Θέμα του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2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3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ppt/theme/themeOverride4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5B9BD5"/>
    </a:accent1>
    <a:accent2>
      <a:srgbClr val="ED7D31"/>
    </a:accent2>
    <a:accent3>
      <a:srgbClr val="A5A5A5"/>
    </a:accent3>
    <a:accent4>
      <a:srgbClr val="FFC000"/>
    </a:accent4>
    <a:accent5>
      <a:srgbClr val="4472C4"/>
    </a:accent5>
    <a:accent6>
      <a:srgbClr val="70AD47"/>
    </a:accent6>
    <a:hlink>
      <a:srgbClr val="0563C1"/>
    </a:hlink>
    <a:folHlink>
      <a:srgbClr val="954F72"/>
    </a:folHlink>
  </a:clrScheme>
  <a:fontScheme name="Office">
    <a:majorFont>
      <a:latin typeface="Calibri Light" panose="020F0302020204030204"/>
      <a:ea typeface=""/>
      <a:cs typeface=""/>
      <a:font script="Jpan" typeface="游ゴシック Light"/>
      <a:font script="Hang" typeface="맑은 고딕"/>
      <a:font script="Hans" typeface="等线 Light"/>
      <a:font script="Hant" typeface="新細明體"/>
      <a:font script="Arab" typeface="Times New Roman"/>
      <a:font script="Hebr" typeface="Times New Roman"/>
      <a:font script="Thai" typeface="Tahoma"/>
      <a:font script="Ethi" typeface="Nyala"/>
      <a:font script="Beng" typeface="Vrinda"/>
      <a:font script="Gujr" typeface="Shruti"/>
      <a:font script="Khmr" typeface="MoolBoran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Times New Roman"/>
      <a:font script="Uigh" typeface="Microsoft Uighur"/>
      <a:font script="Geor" typeface="Sylfaen"/>
    </a:majorFont>
    <a:minorFont>
      <a:latin typeface="Calibri" panose="020F0502020204030204"/>
      <a:ea typeface=""/>
      <a:cs typeface=""/>
      <a:font script="Jpan" typeface="游ゴシック"/>
      <a:font script="Hang" typeface="맑은 고딕"/>
      <a:font script="Hans" typeface="等线"/>
      <a:font script="Hant" typeface="新細明體"/>
      <a:font script="Arab" typeface="Arial"/>
      <a:font script="Hebr" typeface="Arial"/>
      <a:font script="Thai" typeface="Tahoma"/>
      <a:font script="Ethi" typeface="Nyala"/>
      <a:font script="Beng" typeface="Vrinda"/>
      <a:font script="Gujr" typeface="Shruti"/>
      <a:font script="Khmr" typeface="DaunPenh"/>
      <a:font script="Knda" typeface="Tunga"/>
      <a:font script="Guru" typeface="Raavi"/>
      <a:font script="Cans" typeface="Euphemia"/>
      <a:font script="Cher" typeface="Plantagenet Cherokee"/>
      <a:font script="Yiii" typeface="Microsoft Yi Baiti"/>
      <a:font script="Tibt" typeface="Microsoft Himalaya"/>
      <a:font script="Thaa" typeface="MV Boli"/>
      <a:font script="Deva" typeface="Mangal"/>
      <a:font script="Telu" typeface="Gautami"/>
      <a:font script="Taml" typeface="Latha"/>
      <a:font script="Syrc" typeface="Estrangelo Edessa"/>
      <a:font script="Orya" typeface="Kalinga"/>
      <a:font script="Mlym" typeface="Kartika"/>
      <a:font script="Laoo" typeface="DokChampa"/>
      <a:font script="Sinh" typeface="Iskoola Pota"/>
      <a:font script="Mong" typeface="Mongolian Baiti"/>
      <a:font script="Viet" typeface="Arial"/>
      <a:font script="Uigh" typeface="Microsoft Uighur"/>
      <a:font script="Geor" typeface="Sylfaen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lumMod val="110000"/>
              <a:satMod val="105000"/>
              <a:tint val="67000"/>
            </a:schemeClr>
          </a:gs>
          <a:gs pos="50000">
            <a:schemeClr val="phClr">
              <a:lumMod val="105000"/>
              <a:satMod val="103000"/>
              <a:tint val="73000"/>
            </a:schemeClr>
          </a:gs>
          <a:gs pos="100000">
            <a:schemeClr val="phClr">
              <a:lumMod val="105000"/>
              <a:satMod val="109000"/>
              <a:tint val="81000"/>
            </a:schemeClr>
          </a:gs>
        </a:gsLst>
        <a:lin ang="5400000" scaled="0"/>
      </a:gradFill>
      <a:gradFill rotWithShape="1">
        <a:gsLst>
          <a:gs pos="0">
            <a:schemeClr val="phClr">
              <a:satMod val="103000"/>
              <a:lumMod val="102000"/>
              <a:tint val="94000"/>
            </a:schemeClr>
          </a:gs>
          <a:gs pos="50000">
            <a:schemeClr val="phClr">
              <a:satMod val="110000"/>
              <a:lumMod val="100000"/>
              <a:shade val="100000"/>
            </a:schemeClr>
          </a:gs>
          <a:gs pos="100000">
            <a:schemeClr val="phClr">
              <a:lumMod val="99000"/>
              <a:satMod val="120000"/>
              <a:shade val="78000"/>
            </a:schemeClr>
          </a:gs>
        </a:gsLst>
        <a:lin ang="5400000" scaled="0"/>
      </a:gradFill>
    </a:fillStyleLst>
    <a:lnStyleLst>
      <a:ln w="6350" cap="flat" cmpd="sng" algn="ctr">
        <a:solidFill>
          <a:schemeClr val="phClr"/>
        </a:solidFill>
        <a:prstDash val="solid"/>
        <a:miter lim="800000"/>
      </a:ln>
      <a:ln w="12700" cap="flat" cmpd="sng" algn="ctr">
        <a:solidFill>
          <a:schemeClr val="phClr"/>
        </a:solidFill>
        <a:prstDash val="solid"/>
        <a:miter lim="800000"/>
      </a:ln>
      <a:ln w="19050" cap="flat" cmpd="sng" algn="ctr">
        <a:solidFill>
          <a:schemeClr val="phClr"/>
        </a:solidFill>
        <a:prstDash val="solid"/>
        <a:miter lim="800000"/>
      </a:ln>
    </a:lnStyleLst>
    <a:effectStyleLst>
      <a:effectStyle>
        <a:effectLst/>
      </a:effectStyle>
      <a:effectStyle>
        <a:effectLst/>
      </a:effectStyle>
      <a:effectStyle>
        <a:effectLst>
          <a:outerShdw blurRad="57150" dist="19050" dir="5400000" algn="ctr" rotWithShape="0">
            <a:srgbClr val="000000">
              <a:alpha val="63000"/>
            </a:srgbClr>
          </a:outerShdw>
        </a:effectLst>
      </a:effectStyle>
    </a:effectStyleLst>
    <a:bgFillStyleLst>
      <a:solidFill>
        <a:schemeClr val="phClr"/>
      </a:solidFill>
      <a:solidFill>
        <a:schemeClr val="phClr">
          <a:tint val="95000"/>
          <a:satMod val="170000"/>
        </a:schemeClr>
      </a:solidFill>
      <a:gradFill rotWithShape="1">
        <a:gsLst>
          <a:gs pos="0">
            <a:schemeClr val="phClr">
              <a:tint val="93000"/>
              <a:satMod val="150000"/>
              <a:shade val="98000"/>
              <a:lumMod val="102000"/>
            </a:schemeClr>
          </a:gs>
          <a:gs pos="50000">
            <a:schemeClr val="phClr">
              <a:tint val="98000"/>
              <a:satMod val="130000"/>
              <a:shade val="90000"/>
              <a:lumMod val="103000"/>
            </a:schemeClr>
          </a:gs>
          <a:gs pos="100000">
            <a:schemeClr val="phClr">
              <a:shade val="63000"/>
              <a:satMod val="120000"/>
            </a:schemeClr>
          </a:gs>
        </a:gsLst>
        <a:lin ang="5400000" scaled="0"/>
      </a:gradFill>
    </a:bgFillStyleLst>
  </a:fmt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1343</TotalTime>
  <Words>2048</Words>
  <Application>Microsoft Office PowerPoint</Application>
  <PresentationFormat>Προσαρμογή</PresentationFormat>
  <Paragraphs>303</Paragraphs>
  <Slides>28</Slides>
  <Notes>28</Notes>
  <HiddenSlides>0</HiddenSlides>
  <MMClips>0</MMClips>
  <ScaleCrop>false</ScaleCrop>
  <HeadingPairs>
    <vt:vector size="6" baseType="variant">
      <vt:variant>
        <vt:lpstr>Γραμματοσειρές που χρησιμοποιούνται</vt:lpstr>
      </vt:variant>
      <vt:variant>
        <vt:i4>8</vt:i4>
      </vt:variant>
      <vt:variant>
        <vt:lpstr>Θέμα</vt:lpstr>
      </vt:variant>
      <vt:variant>
        <vt:i4>1</vt:i4>
      </vt:variant>
      <vt:variant>
        <vt:lpstr>Τίτλοι διαφανειών</vt:lpstr>
      </vt:variant>
      <vt:variant>
        <vt:i4>28</vt:i4>
      </vt:variant>
    </vt:vector>
  </HeadingPairs>
  <TitlesOfParts>
    <vt:vector size="37" baseType="lpstr">
      <vt:lpstr>Arial</vt:lpstr>
      <vt:lpstr>Calibri</vt:lpstr>
      <vt:lpstr>Calibri </vt:lpstr>
      <vt:lpstr>Century Gothic</vt:lpstr>
      <vt:lpstr>Helvetica</vt:lpstr>
      <vt:lpstr>Helvetica Light</vt:lpstr>
      <vt:lpstr>Symbol</vt:lpstr>
      <vt:lpstr>Wingdings</vt:lpstr>
      <vt:lpstr>White</vt:lpstr>
      <vt:lpstr>ΕΤΑΙΡΙΚΟ ΣΥΜΦΩΝΟ ΠΕΡΙΦΕΡΕΙΑΚΗΣ ΑΝΑΠΤΥΞΗΣ (ΕΣΠΑ 2021-2027) Πόροι, Βασικές Αρχές, Προγράμματα</vt:lpstr>
      <vt:lpstr>Συνοπτική Παρουσίαση ΕΣΠΑ 2021-2027</vt:lpstr>
      <vt:lpstr>Συνολικοί Διαθέσιμοι Πόροι</vt:lpstr>
      <vt:lpstr>ΕΣΠΑ 2021-2027 – Βασικές Αρχές</vt:lpstr>
      <vt:lpstr>ΕΣΠΑ 2021 – 2027: Τι ΝΕΟ φέρνει …. ως προς το ΕΣΠΑ 2014-2020</vt:lpstr>
      <vt:lpstr>Στόχοι Πολιτικής για το ΕΣΠΑ 2021 - 2027</vt:lpstr>
      <vt:lpstr>Προγράμματα ΕΣΠΑ 2021 - 2027</vt:lpstr>
      <vt:lpstr>Τα Προγράμματα του ΕΣΠΑ, ποσά σε εκατ. €</vt:lpstr>
      <vt:lpstr>Πρόγραμμα «Ανταγωνιστικότητα», π/υ 3.885 εκατ. €</vt:lpstr>
      <vt:lpstr>Πρόγραμμα «Ανθρώπινο Δυναμικό και Κοινωνική Συνοχή» π/υ 4.162 εκατ. €</vt:lpstr>
      <vt:lpstr>Πρόγραμμα «Ψηφιακός Μετασχηματισμός» π/υ 943 εκατ. €</vt:lpstr>
      <vt:lpstr>Πρόγραμμα «Περιβάλλον και Κλιματική Αλλαγή» π/υ 3.607 εκατ. €</vt:lpstr>
      <vt:lpstr>Πρόγραμμα «Μεταφορές» π/υ 2.224 εκατ. €</vt:lpstr>
      <vt:lpstr>Πρόγραμμα «Πολιτική Προστασία» π/υ 714 εκατ. €</vt:lpstr>
      <vt:lpstr>Πρόγραμμα «Τεχνική Βοήθεια και Υποστήριξη Δικαιούχων» π/υ 504 εκατ. € </vt:lpstr>
      <vt:lpstr>13 Περιφερειακά Προγράμματα συνολικού π/υ 8.066 εκατ. €</vt:lpstr>
      <vt:lpstr>Αναμενόμενα Αποτελέσματα από τον  Προγραμματισμό των Πόρων 2021-2027</vt:lpstr>
      <vt:lpstr>Ανταγωνιστικότητα – Έρευνα &amp; Καινοτομία – Δεξιότητες Εργαζομένων</vt:lpstr>
      <vt:lpstr>Ψηφιακός Μετασχηματισμός – Ψηφιακή Συνδεσιμότητα - Δεξιότητες </vt:lpstr>
      <vt:lpstr>Κλιματική Αλλαγή - Οικοσύστημα - Ενεργειακή Αποδοτικότητα - ΑΠΕ  </vt:lpstr>
      <vt:lpstr>Δίκτυα Μεταφορών – Συνδεσιμότητα  </vt:lpstr>
      <vt:lpstr>Παιδεία – Υγεία – Κοινωνική Μέριμνα  </vt:lpstr>
      <vt:lpstr>Απασχόληση - Κοινωνική Ένταξη</vt:lpstr>
      <vt:lpstr>Που βρισκόμαστε σήμερα - Επόμενα βήματα </vt:lpstr>
      <vt:lpstr>ΝΕΟΣ Νόμος ΕΣΠΑ 4914/2022  -21.03.22 (Α’ 61) «Διαχείριση, έλεγχος και εφαρμογή αναπτυξιακών παρεμβάσεων για την Προγραμματική Περίοδο 2021-2027» </vt:lpstr>
      <vt:lpstr>Αντικείμενο – Βασικά χαρακτηριστικά</vt:lpstr>
      <vt:lpstr>Κύριες αλλαγές/βελτιώσεις του θεσμικού πλαισίου (1/2)</vt:lpstr>
      <vt:lpstr>ΕΥΧΑΡΙΣΤΩ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Παρουσίαση του PowerPoint</dc:title>
  <dc:creator>Stella Alexopoulou</dc:creator>
  <cp:lastModifiedBy>Vasilis Vasilopoulos</cp:lastModifiedBy>
  <cp:revision>64</cp:revision>
  <cp:lastPrinted>2022-06-14T12:00:58Z</cp:lastPrinted>
  <dcterms:modified xsi:type="dcterms:W3CDTF">2022-06-16T10:17:35Z</dcterms:modified>
</cp:coreProperties>
</file>